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8"/>
  </p:notesMasterIdLst>
  <p:sldIdLst>
    <p:sldId id="474" r:id="rId5"/>
    <p:sldId id="2044" r:id="rId6"/>
    <p:sldId id="2050" r:id="rId7"/>
    <p:sldId id="2046" r:id="rId8"/>
    <p:sldId id="2047" r:id="rId9"/>
    <p:sldId id="2055" r:id="rId10"/>
    <p:sldId id="2054" r:id="rId11"/>
    <p:sldId id="2051" r:id="rId12"/>
    <p:sldId id="2052" r:id="rId13"/>
    <p:sldId id="2049" r:id="rId14"/>
    <p:sldId id="2057" r:id="rId15"/>
    <p:sldId id="2056" r:id="rId16"/>
    <p:sldId id="944" r:id="rId17"/>
  </p:sldIdLst>
  <p:sldSz cx="11522075" cy="6484938"/>
  <p:notesSz cx="7315200" cy="12344400"/>
  <p:embeddedFontLst>
    <p:embeddedFont>
      <p:font typeface="Calibri" panose="020F0502020204030204" pitchFamily="34" charset="0"/>
      <p:regular r:id="rId19"/>
      <p:bold r:id="rId20"/>
      <p:italic r:id="rId21"/>
      <p:boldItalic r:id="rId22"/>
    </p:embeddedFont>
    <p:embeddedFont>
      <p:font typeface="FlexoSoft" panose="02000000000000000000" pitchFamily="2" charset="0"/>
      <p:regular r:id="rId23"/>
      <p:bold r:id="rId24"/>
      <p:italic r:id="rId25"/>
      <p:boldItalic r:id="rId26"/>
    </p:embeddedFont>
    <p:embeddedFont>
      <p:font typeface="FlexoSoft DemiBold" panose="02000000000000000000" pitchFamily="2" charset="0"/>
      <p:bold r:id="rId27"/>
      <p:boldItalic r:id="rId28"/>
    </p:embeddedFont>
    <p:embeddedFont>
      <p:font typeface="FlexoSoft Light" panose="02000000000000000000" pitchFamily="2" charset="0"/>
      <p:regular r:id="rId29"/>
      <p:italic r:id="rId30"/>
    </p:embeddedFont>
    <p:embeddedFont>
      <p:font typeface="FlexoSoft Medium" panose="02000000000000000000" pitchFamily="2" charset="0"/>
      <p:regular r:id="rId31"/>
      <p:italic r:id="rId32"/>
    </p:embeddedFont>
    <p:embeddedFont>
      <p:font typeface="Wingdings 2" panose="05020102010507070707" pitchFamily="18" charset="2"/>
      <p:regular r:id="rId33"/>
    </p:embeddedFont>
  </p:embeddedFontLst>
  <p:custDataLst>
    <p:tags r:id="rId3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2057"/>
            <p14:sldId id="2056"/>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C18A0A-8C53-4F27-BA03-55841955F2E7}" v="294" dt="2023-02-19T09:37:41.71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75"/>
  </p:normalViewPr>
  <p:slideViewPr>
    <p:cSldViewPr snapToGrid="0">
      <p:cViewPr varScale="1">
        <p:scale>
          <a:sx n="100" d="100"/>
          <a:sy n="100" d="100"/>
        </p:scale>
        <p:origin x="294" y="84"/>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openxmlformats.org/officeDocument/2006/relationships/font" Target="fonts/font8.fntdata"/><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font" Target="fonts/font3.fntdata"/><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7.fntdata"/><Relationship Id="rId33" Type="http://schemas.openxmlformats.org/officeDocument/2006/relationships/font" Target="fonts/font15.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2.fntdata"/><Relationship Id="rId29" Type="http://schemas.openxmlformats.org/officeDocument/2006/relationships/font" Target="fonts/font11.fntdata"/><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6.fntdata"/><Relationship Id="rId32" Type="http://schemas.openxmlformats.org/officeDocument/2006/relationships/font" Target="fonts/font14.fntdata"/><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5.fntdata"/><Relationship Id="rId28" Type="http://schemas.openxmlformats.org/officeDocument/2006/relationships/font" Target="fonts/font10.fntdata"/><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font" Target="fonts/font1.fntdata"/><Relationship Id="rId31"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22C18A0A-8C53-4F27-BA03-55841955F2E7}"/>
    <pc:docChg chg="undo custSel addSld modSld modMainMaster replTag">
      <pc:chgData name="Kümmerle, Markus" userId="edb588ad-b118-44cb-93b6-335b967c9009" providerId="ADAL" clId="{22C18A0A-8C53-4F27-BA03-55841955F2E7}" dt="2023-02-19T09:37:48.623" v="2046" actId="1076"/>
      <pc:docMkLst>
        <pc:docMk/>
      </pc:docMkLst>
      <pc:sldChg chg="addSp delSp modSp mod">
        <pc:chgData name="Kümmerle, Markus" userId="edb588ad-b118-44cb-93b6-335b967c9009" providerId="ADAL" clId="{22C18A0A-8C53-4F27-BA03-55841955F2E7}" dt="2023-02-15T14:08:35.406" v="1250"/>
        <pc:sldMkLst>
          <pc:docMk/>
          <pc:sldMk cId="1652484770" sldId="2044"/>
        </pc:sldMkLst>
        <pc:spChg chg="mod">
          <ac:chgData name="Kümmerle, Markus" userId="edb588ad-b118-44cb-93b6-335b967c9009" providerId="ADAL" clId="{22C18A0A-8C53-4F27-BA03-55841955F2E7}" dt="2023-02-15T14:08:35.345" v="1208" actId="948"/>
          <ac:spMkLst>
            <pc:docMk/>
            <pc:sldMk cId="1652484770" sldId="2044"/>
            <ac:spMk id="2" creationId="{2B73D7CB-E55B-ED4D-A567-274B625D4CEF}"/>
          </ac:spMkLst>
        </pc:spChg>
        <pc:spChg chg="add del mod modVis">
          <ac:chgData name="Kümmerle, Markus" userId="edb588ad-b118-44cb-93b6-335b967c9009" providerId="ADAL" clId="{22C18A0A-8C53-4F27-BA03-55841955F2E7}" dt="2023-02-15T14:08:29.522" v="1066"/>
          <ac:spMkLst>
            <pc:docMk/>
            <pc:sldMk cId="1652484770" sldId="2044"/>
            <ac:spMk id="3" creationId="{33C02D9E-A1BB-4948-A201-319C6DCC8F96}"/>
          </ac:spMkLst>
        </pc:spChg>
        <pc:spChg chg="add del mod modVis">
          <ac:chgData name="Kümmerle, Markus" userId="edb588ad-b118-44cb-93b6-335b967c9009" providerId="ADAL" clId="{22C18A0A-8C53-4F27-BA03-55841955F2E7}" dt="2023-01-27T15:36:20.629" v="459"/>
          <ac:spMkLst>
            <pc:docMk/>
            <pc:sldMk cId="1652484770" sldId="2044"/>
            <ac:spMk id="3" creationId="{D8BCD469-3F5B-45E1-9079-C07C8AC1F54B}"/>
          </ac:spMkLst>
        </pc:spChg>
        <pc:spChg chg="add del mod modVis">
          <ac:chgData name="Kümmerle, Markus" userId="edb588ad-b118-44cb-93b6-335b967c9009" providerId="ADAL" clId="{22C18A0A-8C53-4F27-BA03-55841955F2E7}" dt="2023-02-15T14:08:31.159" v="1114"/>
          <ac:spMkLst>
            <pc:docMk/>
            <pc:sldMk cId="1652484770" sldId="2044"/>
            <ac:spMk id="6" creationId="{39CEC853-EEA4-43C8-8AE3-C493ED6EDF56}"/>
          </ac:spMkLst>
        </pc:spChg>
        <pc:spChg chg="add del mod modVis">
          <ac:chgData name="Kümmerle, Markus" userId="edb588ad-b118-44cb-93b6-335b967c9009" providerId="ADAL" clId="{22C18A0A-8C53-4F27-BA03-55841955F2E7}" dt="2023-02-15T14:08:31.518" v="1158"/>
          <ac:spMkLst>
            <pc:docMk/>
            <pc:sldMk cId="1652484770" sldId="2044"/>
            <ac:spMk id="7" creationId="{EEA3109B-FE25-446D-AE29-57D83E739EBA}"/>
          </ac:spMkLst>
        </pc:spChg>
        <pc:spChg chg="add del mod modVis">
          <ac:chgData name="Kümmerle, Markus" userId="edb588ad-b118-44cb-93b6-335b967c9009" providerId="ADAL" clId="{22C18A0A-8C53-4F27-BA03-55841955F2E7}" dt="2023-02-15T14:08:34.290" v="1202"/>
          <ac:spMkLst>
            <pc:docMk/>
            <pc:sldMk cId="1652484770" sldId="2044"/>
            <ac:spMk id="10" creationId="{8000AAF7-8805-41A1-9D00-12A8FE1A96C9}"/>
          </ac:spMkLst>
        </pc:spChg>
        <pc:spChg chg="add del mod modVis">
          <ac:chgData name="Kümmerle, Markus" userId="edb588ad-b118-44cb-93b6-335b967c9009" providerId="ADAL" clId="{22C18A0A-8C53-4F27-BA03-55841955F2E7}" dt="2023-02-15T14:08:35.403" v="1248"/>
          <ac:spMkLst>
            <pc:docMk/>
            <pc:sldMk cId="1652484770" sldId="2044"/>
            <ac:spMk id="12" creationId="{5D6F3B52-0313-4BF9-9DAF-2645218CB85B}"/>
          </ac:spMkLst>
        </pc:spChg>
        <pc:spChg chg="mod">
          <ac:chgData name="Kümmerle, Markus" userId="edb588ad-b118-44cb-93b6-335b967c9009" providerId="ADAL" clId="{22C18A0A-8C53-4F27-BA03-55841955F2E7}" dt="2023-01-24T14:18:54.498" v="354" actId="20577"/>
          <ac:spMkLst>
            <pc:docMk/>
            <pc:sldMk cId="1652484770" sldId="2044"/>
            <ac:spMk id="13" creationId="{3A2CF7F6-1A14-4D9D-8484-1309E9FF7391}"/>
          </ac:spMkLst>
        </pc:spChg>
        <pc:graphicFrameChg chg="mod">
          <ac:chgData name="Kümmerle, Markus" userId="edb588ad-b118-44cb-93b6-335b967c9009" providerId="ADAL" clId="{22C18A0A-8C53-4F27-BA03-55841955F2E7}" dt="2023-02-15T14:08:35.406" v="1250"/>
          <ac:graphicFrameMkLst>
            <pc:docMk/>
            <pc:sldMk cId="1652484770" sldId="2044"/>
            <ac:graphicFrameMk id="5" creationId="{24EAA83B-388C-42C7-9B96-60997077107C}"/>
          </ac:graphicFrameMkLst>
        </pc:graphicFrameChg>
      </pc:sldChg>
      <pc:sldChg chg="modSp mod">
        <pc:chgData name="Kümmerle, Markus" userId="edb588ad-b118-44cb-93b6-335b967c9009" providerId="ADAL" clId="{22C18A0A-8C53-4F27-BA03-55841955F2E7}" dt="2023-01-27T15:52:10.137" v="479" actId="1035"/>
        <pc:sldMkLst>
          <pc:docMk/>
          <pc:sldMk cId="2574986647" sldId="2046"/>
        </pc:sldMkLst>
        <pc:spChg chg="mod">
          <ac:chgData name="Kümmerle, Markus" userId="edb588ad-b118-44cb-93b6-335b967c9009" providerId="ADAL" clId="{22C18A0A-8C53-4F27-BA03-55841955F2E7}" dt="2023-01-27T15:52:10.137" v="479" actId="1035"/>
          <ac:spMkLst>
            <pc:docMk/>
            <pc:sldMk cId="2574986647" sldId="2046"/>
            <ac:spMk id="6" creationId="{03FFB10F-3D19-4F0C-ABFD-E7B4111A37BC}"/>
          </ac:spMkLst>
        </pc:spChg>
      </pc:sldChg>
      <pc:sldChg chg="addSp delSp modSp mod">
        <pc:chgData name="Kümmerle, Markus" userId="edb588ad-b118-44cb-93b6-335b967c9009" providerId="ADAL" clId="{22C18A0A-8C53-4F27-BA03-55841955F2E7}" dt="2023-02-19T09:37:48.623" v="2046" actId="1076"/>
        <pc:sldMkLst>
          <pc:docMk/>
          <pc:sldMk cId="1609124706" sldId="2049"/>
        </pc:sldMkLst>
        <pc:spChg chg="mod">
          <ac:chgData name="Kümmerle, Markus" userId="edb588ad-b118-44cb-93b6-335b967c9009" providerId="ADAL" clId="{22C18A0A-8C53-4F27-BA03-55841955F2E7}" dt="2023-02-18T17:51:19.478" v="1475" actId="1038"/>
          <ac:spMkLst>
            <pc:docMk/>
            <pc:sldMk cId="1609124706" sldId="2049"/>
            <ac:spMk id="62" creationId="{928FF1C1-0854-4A58-95D2-B9FAA2825CCF}"/>
          </ac:spMkLst>
        </pc:spChg>
        <pc:spChg chg="mod">
          <ac:chgData name="Kümmerle, Markus" userId="edb588ad-b118-44cb-93b6-335b967c9009" providerId="ADAL" clId="{22C18A0A-8C53-4F27-BA03-55841955F2E7}" dt="2023-02-18T17:51:19.478" v="1475" actId="1038"/>
          <ac:spMkLst>
            <pc:docMk/>
            <pc:sldMk cId="1609124706" sldId="2049"/>
            <ac:spMk id="63" creationId="{DA5C78F0-895E-4F84-8FFD-CF80CD6E2FD3}"/>
          </ac:spMkLst>
        </pc:spChg>
        <pc:spChg chg="mod">
          <ac:chgData name="Kümmerle, Markus" userId="edb588ad-b118-44cb-93b6-335b967c9009" providerId="ADAL" clId="{22C18A0A-8C53-4F27-BA03-55841955F2E7}" dt="2023-02-18T17:51:19.478" v="1475" actId="1038"/>
          <ac:spMkLst>
            <pc:docMk/>
            <pc:sldMk cId="1609124706" sldId="2049"/>
            <ac:spMk id="64" creationId="{D9EC907D-1B33-4748-9CFF-6DDFF68DCD38}"/>
          </ac:spMkLst>
        </pc:spChg>
        <pc:spChg chg="mod">
          <ac:chgData name="Kümmerle, Markus" userId="edb588ad-b118-44cb-93b6-335b967c9009" providerId="ADAL" clId="{22C18A0A-8C53-4F27-BA03-55841955F2E7}" dt="2023-02-18T17:51:19.478" v="1475" actId="1038"/>
          <ac:spMkLst>
            <pc:docMk/>
            <pc:sldMk cId="1609124706" sldId="2049"/>
            <ac:spMk id="65" creationId="{44A8E926-2BFE-45A7-80F6-D215E10A7EA1}"/>
          </ac:spMkLst>
        </pc:spChg>
        <pc:spChg chg="mod">
          <ac:chgData name="Kümmerle, Markus" userId="edb588ad-b118-44cb-93b6-335b967c9009" providerId="ADAL" clId="{22C18A0A-8C53-4F27-BA03-55841955F2E7}" dt="2023-02-18T17:51:19.478" v="1475" actId="1038"/>
          <ac:spMkLst>
            <pc:docMk/>
            <pc:sldMk cId="1609124706" sldId="2049"/>
            <ac:spMk id="66" creationId="{806402C4-7BB7-4FF4-910D-21DDB0FB53E3}"/>
          </ac:spMkLst>
        </pc:spChg>
        <pc:spChg chg="mod">
          <ac:chgData name="Kümmerle, Markus" userId="edb588ad-b118-44cb-93b6-335b967c9009" providerId="ADAL" clId="{22C18A0A-8C53-4F27-BA03-55841955F2E7}" dt="2023-02-18T17:51:19.478" v="1475" actId="1038"/>
          <ac:spMkLst>
            <pc:docMk/>
            <pc:sldMk cId="1609124706" sldId="2049"/>
            <ac:spMk id="67" creationId="{1523F52D-B60A-4AB7-B9B3-AC61F510FEE6}"/>
          </ac:spMkLst>
        </pc:spChg>
        <pc:spChg chg="mod">
          <ac:chgData name="Kümmerle, Markus" userId="edb588ad-b118-44cb-93b6-335b967c9009" providerId="ADAL" clId="{22C18A0A-8C53-4F27-BA03-55841955F2E7}" dt="2023-02-18T17:51:19.478" v="1475" actId="1038"/>
          <ac:spMkLst>
            <pc:docMk/>
            <pc:sldMk cId="1609124706" sldId="2049"/>
            <ac:spMk id="68" creationId="{7F7E92C1-9E84-4835-B595-53FB24AB1285}"/>
          </ac:spMkLst>
        </pc:spChg>
        <pc:grpChg chg="add mod">
          <ac:chgData name="Kümmerle, Markus" userId="edb588ad-b118-44cb-93b6-335b967c9009" providerId="ADAL" clId="{22C18A0A-8C53-4F27-BA03-55841955F2E7}" dt="2023-02-18T17:51:19.478" v="1475" actId="1038"/>
          <ac:grpSpMkLst>
            <pc:docMk/>
            <pc:sldMk cId="1609124706" sldId="2049"/>
            <ac:grpSpMk id="60" creationId="{00EC4C0A-EE36-44F7-99FD-A240AC736392}"/>
          </ac:grpSpMkLst>
        </pc:grpChg>
        <pc:grpChg chg="mod">
          <ac:chgData name="Kümmerle, Markus" userId="edb588ad-b118-44cb-93b6-335b967c9009" providerId="ADAL" clId="{22C18A0A-8C53-4F27-BA03-55841955F2E7}" dt="2023-02-18T17:51:19.478" v="1475" actId="1038"/>
          <ac:grpSpMkLst>
            <pc:docMk/>
            <pc:sldMk cId="1609124706" sldId="2049"/>
            <ac:grpSpMk id="61" creationId="{C1B3ED4A-ECF9-4E2A-B2EB-52549163B560}"/>
          </ac:grpSpMkLst>
        </pc:grpChg>
        <pc:picChg chg="mod">
          <ac:chgData name="Kümmerle, Markus" userId="edb588ad-b118-44cb-93b6-335b967c9009" providerId="ADAL" clId="{22C18A0A-8C53-4F27-BA03-55841955F2E7}" dt="2023-02-18T17:48:25.768" v="1398" actId="408"/>
          <ac:picMkLst>
            <pc:docMk/>
            <pc:sldMk cId="1609124706" sldId="2049"/>
            <ac:picMk id="6" creationId="{E801FD9D-36B2-4E40-B027-4CB85035AA9C}"/>
          </ac:picMkLst>
        </pc:picChg>
        <pc:picChg chg="mod">
          <ac:chgData name="Kümmerle, Markus" userId="edb588ad-b118-44cb-93b6-335b967c9009" providerId="ADAL" clId="{22C18A0A-8C53-4F27-BA03-55841955F2E7}" dt="2023-02-18T17:57:11.518" v="1797" actId="1037"/>
          <ac:picMkLst>
            <pc:docMk/>
            <pc:sldMk cId="1609124706" sldId="2049"/>
            <ac:picMk id="7" creationId="{A55850A9-4D08-40D3-BE1B-EC8002332372}"/>
          </ac:picMkLst>
        </pc:picChg>
        <pc:picChg chg="mod">
          <ac:chgData name="Kümmerle, Markus" userId="edb588ad-b118-44cb-93b6-335b967c9009" providerId="ADAL" clId="{22C18A0A-8C53-4F27-BA03-55841955F2E7}" dt="2023-02-18T17:54:00.780" v="1727" actId="1035"/>
          <ac:picMkLst>
            <pc:docMk/>
            <pc:sldMk cId="1609124706" sldId="2049"/>
            <ac:picMk id="8" creationId="{183685A2-5DC3-47D9-9FE3-49DCA1C005FB}"/>
          </ac:picMkLst>
        </pc:picChg>
        <pc:picChg chg="mod">
          <ac:chgData name="Kümmerle, Markus" userId="edb588ad-b118-44cb-93b6-335b967c9009" providerId="ADAL" clId="{22C18A0A-8C53-4F27-BA03-55841955F2E7}" dt="2023-02-18T17:54:00.780" v="1727" actId="1035"/>
          <ac:picMkLst>
            <pc:docMk/>
            <pc:sldMk cId="1609124706" sldId="2049"/>
            <ac:picMk id="9" creationId="{5BCA16A2-D997-4798-9DA5-F79048E137FE}"/>
          </ac:picMkLst>
        </pc:picChg>
        <pc:picChg chg="mod">
          <ac:chgData name="Kümmerle, Markus" userId="edb588ad-b118-44cb-93b6-335b967c9009" providerId="ADAL" clId="{22C18A0A-8C53-4F27-BA03-55841955F2E7}" dt="2023-02-18T17:50:17.815" v="1415" actId="408"/>
          <ac:picMkLst>
            <pc:docMk/>
            <pc:sldMk cId="1609124706" sldId="2049"/>
            <ac:picMk id="10" creationId="{CA29AE2B-3A81-4E25-9A14-7D592817984B}"/>
          </ac:picMkLst>
        </pc:picChg>
        <pc:picChg chg="mod">
          <ac:chgData name="Kümmerle, Markus" userId="edb588ad-b118-44cb-93b6-335b967c9009" providerId="ADAL" clId="{22C18A0A-8C53-4F27-BA03-55841955F2E7}" dt="2023-02-18T17:48:21.663" v="1397" actId="12789"/>
          <ac:picMkLst>
            <pc:docMk/>
            <pc:sldMk cId="1609124706" sldId="2049"/>
            <ac:picMk id="11" creationId="{897567D8-9C10-40E0-847D-E55A4C90178D}"/>
          </ac:picMkLst>
        </pc:picChg>
        <pc:picChg chg="mod">
          <ac:chgData name="Kümmerle, Markus" userId="edb588ad-b118-44cb-93b6-335b967c9009" providerId="ADAL" clId="{22C18A0A-8C53-4F27-BA03-55841955F2E7}" dt="2023-02-18T17:50:17.815" v="1415" actId="408"/>
          <ac:picMkLst>
            <pc:docMk/>
            <pc:sldMk cId="1609124706" sldId="2049"/>
            <ac:picMk id="12" creationId="{08C621FC-DC50-4B73-A9EB-23E1EA12C64D}"/>
          </ac:picMkLst>
        </pc:picChg>
        <pc:picChg chg="mod">
          <ac:chgData name="Kümmerle, Markus" userId="edb588ad-b118-44cb-93b6-335b967c9009" providerId="ADAL" clId="{22C18A0A-8C53-4F27-BA03-55841955F2E7}" dt="2023-02-18T17:50:17.815" v="1415" actId="408"/>
          <ac:picMkLst>
            <pc:docMk/>
            <pc:sldMk cId="1609124706" sldId="2049"/>
            <ac:picMk id="13" creationId="{F18E428A-ABE5-4B32-ABDA-DC640A561A52}"/>
          </ac:picMkLst>
        </pc:picChg>
        <pc:picChg chg="mod">
          <ac:chgData name="Kümmerle, Markus" userId="edb588ad-b118-44cb-93b6-335b967c9009" providerId="ADAL" clId="{22C18A0A-8C53-4F27-BA03-55841955F2E7}" dt="2023-02-18T17:46:16.606" v="1384" actId="408"/>
          <ac:picMkLst>
            <pc:docMk/>
            <pc:sldMk cId="1609124706" sldId="2049"/>
            <ac:picMk id="14" creationId="{DB9D9B4D-E3DA-446C-B06D-A04F656AD7FE}"/>
          </ac:picMkLst>
        </pc:picChg>
        <pc:picChg chg="mod">
          <ac:chgData name="Kümmerle, Markus" userId="edb588ad-b118-44cb-93b6-335b967c9009" providerId="ADAL" clId="{22C18A0A-8C53-4F27-BA03-55841955F2E7}" dt="2023-02-18T17:51:22.838" v="1485" actId="1038"/>
          <ac:picMkLst>
            <pc:docMk/>
            <pc:sldMk cId="1609124706" sldId="2049"/>
            <ac:picMk id="15" creationId="{C96A23AD-90E9-4DB1-9250-AF41B60BA2A4}"/>
          </ac:picMkLst>
        </pc:picChg>
        <pc:picChg chg="mod">
          <ac:chgData name="Kümmerle, Markus" userId="edb588ad-b118-44cb-93b6-335b967c9009" providerId="ADAL" clId="{22C18A0A-8C53-4F27-BA03-55841955F2E7}" dt="2023-02-18T17:46:16.606" v="1384" actId="408"/>
          <ac:picMkLst>
            <pc:docMk/>
            <pc:sldMk cId="1609124706" sldId="2049"/>
            <ac:picMk id="16" creationId="{D6F9E4A6-FAAC-46A0-88AE-C021020BEBB4}"/>
          </ac:picMkLst>
        </pc:picChg>
        <pc:picChg chg="mod">
          <ac:chgData name="Kümmerle, Markus" userId="edb588ad-b118-44cb-93b6-335b967c9009" providerId="ADAL" clId="{22C18A0A-8C53-4F27-BA03-55841955F2E7}" dt="2023-02-18T17:48:25.768" v="1398" actId="408"/>
          <ac:picMkLst>
            <pc:docMk/>
            <pc:sldMk cId="1609124706" sldId="2049"/>
            <ac:picMk id="18" creationId="{533F0E4B-8356-4717-B86E-E2CAFD497C7E}"/>
          </ac:picMkLst>
        </pc:picChg>
        <pc:picChg chg="mod">
          <ac:chgData name="Kümmerle, Markus" userId="edb588ad-b118-44cb-93b6-335b967c9009" providerId="ADAL" clId="{22C18A0A-8C53-4F27-BA03-55841955F2E7}" dt="2023-02-18T17:54:00.780" v="1727" actId="1035"/>
          <ac:picMkLst>
            <pc:docMk/>
            <pc:sldMk cId="1609124706" sldId="2049"/>
            <ac:picMk id="19" creationId="{33E5CB1F-A0D7-4FBB-A060-9587B6427AD4}"/>
          </ac:picMkLst>
        </pc:picChg>
        <pc:picChg chg="mod">
          <ac:chgData name="Kümmerle, Markus" userId="edb588ad-b118-44cb-93b6-335b967c9009" providerId="ADAL" clId="{22C18A0A-8C53-4F27-BA03-55841955F2E7}" dt="2023-02-18T17:54:00.780" v="1727" actId="1035"/>
          <ac:picMkLst>
            <pc:docMk/>
            <pc:sldMk cId="1609124706" sldId="2049"/>
            <ac:picMk id="20" creationId="{00278130-6A13-4C98-8848-0032F0E95D5B}"/>
          </ac:picMkLst>
        </pc:picChg>
        <pc:picChg chg="add del mod">
          <ac:chgData name="Kümmerle, Markus" userId="edb588ad-b118-44cb-93b6-335b967c9009" providerId="ADAL" clId="{22C18A0A-8C53-4F27-BA03-55841955F2E7}" dt="2023-01-14T14:24:06.311" v="5" actId="478"/>
          <ac:picMkLst>
            <pc:docMk/>
            <pc:sldMk cId="1609124706" sldId="2049"/>
            <ac:picMk id="21" creationId="{0450254F-22B3-49D0-A35C-AF928C0A3181}"/>
          </ac:picMkLst>
        </pc:picChg>
        <pc:picChg chg="add mod">
          <ac:chgData name="Kümmerle, Markus" userId="edb588ad-b118-44cb-93b6-335b967c9009" providerId="ADAL" clId="{22C18A0A-8C53-4F27-BA03-55841955F2E7}" dt="2023-02-18T17:50:47.102" v="1430" actId="1038"/>
          <ac:picMkLst>
            <pc:docMk/>
            <pc:sldMk cId="1609124706" sldId="2049"/>
            <ac:picMk id="21" creationId="{F5306238-96F3-48DA-9A19-08D65CE18F3B}"/>
          </ac:picMkLst>
        </pc:picChg>
        <pc:picChg chg="mod">
          <ac:chgData name="Kümmerle, Markus" userId="edb588ad-b118-44cb-93b6-335b967c9009" providerId="ADAL" clId="{22C18A0A-8C53-4F27-BA03-55841955F2E7}" dt="2023-02-18T17:54:00.780" v="1727" actId="1035"/>
          <ac:picMkLst>
            <pc:docMk/>
            <pc:sldMk cId="1609124706" sldId="2049"/>
            <ac:picMk id="22" creationId="{AB203166-E2F2-45EB-A292-23761997F2CB}"/>
          </ac:picMkLst>
        </pc:picChg>
        <pc:picChg chg="mod">
          <ac:chgData name="Kümmerle, Markus" userId="edb588ad-b118-44cb-93b6-335b967c9009" providerId="ADAL" clId="{22C18A0A-8C53-4F27-BA03-55841955F2E7}" dt="2023-02-18T18:00:36.504" v="1958" actId="1038"/>
          <ac:picMkLst>
            <pc:docMk/>
            <pc:sldMk cId="1609124706" sldId="2049"/>
            <ac:picMk id="23" creationId="{880C27AB-A266-4D16-B6CE-B608468EFA60}"/>
          </ac:picMkLst>
        </pc:picChg>
        <pc:picChg chg="mod">
          <ac:chgData name="Kümmerle, Markus" userId="edb588ad-b118-44cb-93b6-335b967c9009" providerId="ADAL" clId="{22C18A0A-8C53-4F27-BA03-55841955F2E7}" dt="2023-02-18T18:00:54.179" v="2023" actId="1037"/>
          <ac:picMkLst>
            <pc:docMk/>
            <pc:sldMk cId="1609124706" sldId="2049"/>
            <ac:picMk id="24" creationId="{74157A46-D0ED-4A48-A468-6BE44B498445}"/>
          </ac:picMkLst>
        </pc:picChg>
        <pc:picChg chg="mod">
          <ac:chgData name="Kümmerle, Markus" userId="edb588ad-b118-44cb-93b6-335b967c9009" providerId="ADAL" clId="{22C18A0A-8C53-4F27-BA03-55841955F2E7}" dt="2023-02-18T17:51:43.122" v="1487" actId="1076"/>
          <ac:picMkLst>
            <pc:docMk/>
            <pc:sldMk cId="1609124706" sldId="2049"/>
            <ac:picMk id="25" creationId="{FCE70341-DA6B-433E-ADF7-0EAC87493B8F}"/>
          </ac:picMkLst>
        </pc:picChg>
        <pc:picChg chg="mod">
          <ac:chgData name="Kümmerle, Markus" userId="edb588ad-b118-44cb-93b6-335b967c9009" providerId="ADAL" clId="{22C18A0A-8C53-4F27-BA03-55841955F2E7}" dt="2023-02-18T17:51:14.466" v="1460" actId="1038"/>
          <ac:picMkLst>
            <pc:docMk/>
            <pc:sldMk cId="1609124706" sldId="2049"/>
            <ac:picMk id="26" creationId="{335E88DA-64F5-4BCD-AD7E-4709B2A07350}"/>
          </ac:picMkLst>
        </pc:picChg>
        <pc:picChg chg="mod">
          <ac:chgData name="Kümmerle, Markus" userId="edb588ad-b118-44cb-93b6-335b967c9009" providerId="ADAL" clId="{22C18A0A-8C53-4F27-BA03-55841955F2E7}" dt="2023-02-18T17:50:17.815" v="1415" actId="408"/>
          <ac:picMkLst>
            <pc:docMk/>
            <pc:sldMk cId="1609124706" sldId="2049"/>
            <ac:picMk id="27" creationId="{77138097-FEBD-4AE6-BF7E-2E57C5575FCB}"/>
          </ac:picMkLst>
        </pc:picChg>
        <pc:picChg chg="mod">
          <ac:chgData name="Kümmerle, Markus" userId="edb588ad-b118-44cb-93b6-335b967c9009" providerId="ADAL" clId="{22C18A0A-8C53-4F27-BA03-55841955F2E7}" dt="2023-02-19T09:37:48.623" v="2046" actId="1076"/>
          <ac:picMkLst>
            <pc:docMk/>
            <pc:sldMk cId="1609124706" sldId="2049"/>
            <ac:picMk id="28" creationId="{FDB8DAB5-0016-431A-BDD8-EC9FEAA8C07F}"/>
          </ac:picMkLst>
        </pc:picChg>
        <pc:picChg chg="mod">
          <ac:chgData name="Kümmerle, Markus" userId="edb588ad-b118-44cb-93b6-335b967c9009" providerId="ADAL" clId="{22C18A0A-8C53-4F27-BA03-55841955F2E7}" dt="2023-02-18T17:48:21.663" v="1397" actId="12789"/>
          <ac:picMkLst>
            <pc:docMk/>
            <pc:sldMk cId="1609124706" sldId="2049"/>
            <ac:picMk id="29" creationId="{C1EBAE24-FB4D-498A-93F5-9C2F19DA31FF}"/>
          </ac:picMkLst>
        </pc:picChg>
        <pc:picChg chg="mod">
          <ac:chgData name="Kümmerle, Markus" userId="edb588ad-b118-44cb-93b6-335b967c9009" providerId="ADAL" clId="{22C18A0A-8C53-4F27-BA03-55841955F2E7}" dt="2023-02-18T18:00:58.527" v="2041" actId="1037"/>
          <ac:picMkLst>
            <pc:docMk/>
            <pc:sldMk cId="1609124706" sldId="2049"/>
            <ac:picMk id="30" creationId="{DD4AF1C8-29CE-45FB-849A-A4B57CEFF8CE}"/>
          </ac:picMkLst>
        </pc:picChg>
        <pc:picChg chg="mod">
          <ac:chgData name="Kümmerle, Markus" userId="edb588ad-b118-44cb-93b6-335b967c9009" providerId="ADAL" clId="{22C18A0A-8C53-4F27-BA03-55841955F2E7}" dt="2023-02-18T17:50:17.815" v="1415" actId="408"/>
          <ac:picMkLst>
            <pc:docMk/>
            <pc:sldMk cId="1609124706" sldId="2049"/>
            <ac:picMk id="31" creationId="{3683C14C-26D6-42D3-95D4-726159965F25}"/>
          </ac:picMkLst>
        </pc:picChg>
        <pc:picChg chg="mod">
          <ac:chgData name="Kümmerle, Markus" userId="edb588ad-b118-44cb-93b6-335b967c9009" providerId="ADAL" clId="{22C18A0A-8C53-4F27-BA03-55841955F2E7}" dt="2023-02-18T17:54:00.780" v="1727" actId="1035"/>
          <ac:picMkLst>
            <pc:docMk/>
            <pc:sldMk cId="1609124706" sldId="2049"/>
            <ac:picMk id="32" creationId="{F74AEDDA-C5DB-4CE0-AC60-93E2D36AE504}"/>
          </ac:picMkLst>
        </pc:picChg>
        <pc:picChg chg="mod">
          <ac:chgData name="Kümmerle, Markus" userId="edb588ad-b118-44cb-93b6-335b967c9009" providerId="ADAL" clId="{22C18A0A-8C53-4F27-BA03-55841955F2E7}" dt="2023-02-18T17:56:36.935" v="1757" actId="1038"/>
          <ac:picMkLst>
            <pc:docMk/>
            <pc:sldMk cId="1609124706" sldId="2049"/>
            <ac:picMk id="33" creationId="{2AF8F179-2BBF-4CC0-8BD8-BD7CC7162137}"/>
          </ac:picMkLst>
        </pc:picChg>
        <pc:picChg chg="mod">
          <ac:chgData name="Kümmerle, Markus" userId="edb588ad-b118-44cb-93b6-335b967c9009" providerId="ADAL" clId="{22C18A0A-8C53-4F27-BA03-55841955F2E7}" dt="2023-02-18T17:54:00.780" v="1727" actId="1035"/>
          <ac:picMkLst>
            <pc:docMk/>
            <pc:sldMk cId="1609124706" sldId="2049"/>
            <ac:picMk id="34" creationId="{353AFCB8-FB38-4AAE-939F-016AB8747C08}"/>
          </ac:picMkLst>
        </pc:picChg>
        <pc:picChg chg="mod">
          <ac:chgData name="Kümmerle, Markus" userId="edb588ad-b118-44cb-93b6-335b967c9009" providerId="ADAL" clId="{22C18A0A-8C53-4F27-BA03-55841955F2E7}" dt="2023-02-18T17:46:16.606" v="1384" actId="408"/>
          <ac:picMkLst>
            <pc:docMk/>
            <pc:sldMk cId="1609124706" sldId="2049"/>
            <ac:picMk id="35" creationId="{DA725A87-73F0-42D8-ABE3-59F5A5FF5549}"/>
          </ac:picMkLst>
        </pc:picChg>
        <pc:picChg chg="mod">
          <ac:chgData name="Kümmerle, Markus" userId="edb588ad-b118-44cb-93b6-335b967c9009" providerId="ADAL" clId="{22C18A0A-8C53-4F27-BA03-55841955F2E7}" dt="2023-02-18T17:50:53.587" v="1436" actId="1038"/>
          <ac:picMkLst>
            <pc:docMk/>
            <pc:sldMk cId="1609124706" sldId="2049"/>
            <ac:picMk id="36" creationId="{E43EAA71-6EA0-43FE-8AEC-8F75706271CC}"/>
          </ac:picMkLst>
        </pc:picChg>
        <pc:picChg chg="mod">
          <ac:chgData name="Kümmerle, Markus" userId="edb588ad-b118-44cb-93b6-335b967c9009" providerId="ADAL" clId="{22C18A0A-8C53-4F27-BA03-55841955F2E7}" dt="2023-02-18T17:46:16.606" v="1384" actId="408"/>
          <ac:picMkLst>
            <pc:docMk/>
            <pc:sldMk cId="1609124706" sldId="2049"/>
            <ac:picMk id="37" creationId="{654B3E70-B34C-4110-8AA0-5D832134C0C5}"/>
          </ac:picMkLst>
        </pc:picChg>
        <pc:picChg chg="mod">
          <ac:chgData name="Kümmerle, Markus" userId="edb588ad-b118-44cb-93b6-335b967c9009" providerId="ADAL" clId="{22C18A0A-8C53-4F27-BA03-55841955F2E7}" dt="2023-02-18T17:46:16.606" v="1384" actId="408"/>
          <ac:picMkLst>
            <pc:docMk/>
            <pc:sldMk cId="1609124706" sldId="2049"/>
            <ac:picMk id="38" creationId="{CC50274A-9DC8-4873-A5BF-2546543700B3}"/>
          </ac:picMkLst>
        </pc:picChg>
        <pc:picChg chg="mod">
          <ac:chgData name="Kümmerle, Markus" userId="edb588ad-b118-44cb-93b6-335b967c9009" providerId="ADAL" clId="{22C18A0A-8C53-4F27-BA03-55841955F2E7}" dt="2023-02-18T17:55:45.273" v="1740" actId="408"/>
          <ac:picMkLst>
            <pc:docMk/>
            <pc:sldMk cId="1609124706" sldId="2049"/>
            <ac:picMk id="39" creationId="{6C1ADF0C-2306-45E4-86B8-CC54467F1CF9}"/>
          </ac:picMkLst>
        </pc:picChg>
        <pc:picChg chg="mod">
          <ac:chgData name="Kümmerle, Markus" userId="edb588ad-b118-44cb-93b6-335b967c9009" providerId="ADAL" clId="{22C18A0A-8C53-4F27-BA03-55841955F2E7}" dt="2023-02-18T17:54:00.780" v="1727" actId="1035"/>
          <ac:picMkLst>
            <pc:docMk/>
            <pc:sldMk cId="1609124706" sldId="2049"/>
            <ac:picMk id="40" creationId="{90595A52-DE01-492E-B229-E2F38411C4D2}"/>
          </ac:picMkLst>
        </pc:picChg>
        <pc:picChg chg="mod">
          <ac:chgData name="Kümmerle, Markus" userId="edb588ad-b118-44cb-93b6-335b967c9009" providerId="ADAL" clId="{22C18A0A-8C53-4F27-BA03-55841955F2E7}" dt="2023-02-18T18:00:26.113" v="1940" actId="408"/>
          <ac:picMkLst>
            <pc:docMk/>
            <pc:sldMk cId="1609124706" sldId="2049"/>
            <ac:picMk id="41" creationId="{1E6DFB7C-413E-4DF7-B981-91502D8AA15E}"/>
          </ac:picMkLst>
        </pc:picChg>
        <pc:picChg chg="mod">
          <ac:chgData name="Kümmerle, Markus" userId="edb588ad-b118-44cb-93b6-335b967c9009" providerId="ADAL" clId="{22C18A0A-8C53-4F27-BA03-55841955F2E7}" dt="2023-02-18T17:48:25.768" v="1398" actId="408"/>
          <ac:picMkLst>
            <pc:docMk/>
            <pc:sldMk cId="1609124706" sldId="2049"/>
            <ac:picMk id="42" creationId="{E0D09212-E342-4915-9642-4F5303BD8807}"/>
          </ac:picMkLst>
        </pc:picChg>
        <pc:picChg chg="add mod">
          <ac:chgData name="Kümmerle, Markus" userId="edb588ad-b118-44cb-93b6-335b967c9009" providerId="ADAL" clId="{22C18A0A-8C53-4F27-BA03-55841955F2E7}" dt="2023-02-18T17:51:01.538" v="1444" actId="1037"/>
          <ac:picMkLst>
            <pc:docMk/>
            <pc:sldMk cId="1609124706" sldId="2049"/>
            <ac:picMk id="43" creationId="{6DE44662-63C3-4B04-8D0E-966D90723706}"/>
          </ac:picMkLst>
        </pc:picChg>
        <pc:picChg chg="mod">
          <ac:chgData name="Kümmerle, Markus" userId="edb588ad-b118-44cb-93b6-335b967c9009" providerId="ADAL" clId="{22C18A0A-8C53-4F27-BA03-55841955F2E7}" dt="2023-02-18T17:50:41.298" v="1423" actId="1038"/>
          <ac:picMkLst>
            <pc:docMk/>
            <pc:sldMk cId="1609124706" sldId="2049"/>
            <ac:picMk id="44" creationId="{16E86257-314D-4920-82F7-BBBC99866F0F}"/>
          </ac:picMkLst>
        </pc:picChg>
        <pc:picChg chg="add mod">
          <ac:chgData name="Kümmerle, Markus" userId="edb588ad-b118-44cb-93b6-335b967c9009" providerId="ADAL" clId="{22C18A0A-8C53-4F27-BA03-55841955F2E7}" dt="2023-02-18T17:46:16.606" v="1384" actId="408"/>
          <ac:picMkLst>
            <pc:docMk/>
            <pc:sldMk cId="1609124706" sldId="2049"/>
            <ac:picMk id="45" creationId="{6B8359F1-CE88-4EDC-BB9F-113872039F17}"/>
          </ac:picMkLst>
        </pc:picChg>
        <pc:picChg chg="add mod">
          <ac:chgData name="Kümmerle, Markus" userId="edb588ad-b118-44cb-93b6-335b967c9009" providerId="ADAL" clId="{22C18A0A-8C53-4F27-BA03-55841955F2E7}" dt="2023-02-18T17:48:25.768" v="1398" actId="408"/>
          <ac:picMkLst>
            <pc:docMk/>
            <pc:sldMk cId="1609124706" sldId="2049"/>
            <ac:picMk id="47" creationId="{1985FDDE-FA31-4757-AA8E-5E029B38B0B9}"/>
          </ac:picMkLst>
        </pc:picChg>
        <pc:picChg chg="add mod">
          <ac:chgData name="Kümmerle, Markus" userId="edb588ad-b118-44cb-93b6-335b967c9009" providerId="ADAL" clId="{22C18A0A-8C53-4F27-BA03-55841955F2E7}" dt="2023-02-18T17:48:25.768" v="1398" actId="408"/>
          <ac:picMkLst>
            <pc:docMk/>
            <pc:sldMk cId="1609124706" sldId="2049"/>
            <ac:picMk id="48" creationId="{D3D8C522-4EBB-4CEF-A07E-CCAC655EAC65}"/>
          </ac:picMkLst>
        </pc:picChg>
        <pc:picChg chg="add del mod">
          <ac:chgData name="Kümmerle, Markus" userId="edb588ad-b118-44cb-93b6-335b967c9009" providerId="ADAL" clId="{22C18A0A-8C53-4F27-BA03-55841955F2E7}" dt="2023-01-14T14:31:32.706" v="50" actId="478"/>
          <ac:picMkLst>
            <pc:docMk/>
            <pc:sldMk cId="1609124706" sldId="2049"/>
            <ac:picMk id="49" creationId="{89589495-B7C1-4B56-818A-BA2AA97DFDEB}"/>
          </ac:picMkLst>
        </pc:picChg>
        <pc:picChg chg="add mod">
          <ac:chgData name="Kümmerle, Markus" userId="edb588ad-b118-44cb-93b6-335b967c9009" providerId="ADAL" clId="{22C18A0A-8C53-4F27-BA03-55841955F2E7}" dt="2023-02-18T17:50:17.815" v="1415" actId="408"/>
          <ac:picMkLst>
            <pc:docMk/>
            <pc:sldMk cId="1609124706" sldId="2049"/>
            <ac:picMk id="50" creationId="{CBC72D56-170E-491F-B1CE-776C7002BCFC}"/>
          </ac:picMkLst>
        </pc:picChg>
        <pc:picChg chg="add mod">
          <ac:chgData name="Kümmerle, Markus" userId="edb588ad-b118-44cb-93b6-335b967c9009" providerId="ADAL" clId="{22C18A0A-8C53-4F27-BA03-55841955F2E7}" dt="2023-02-18T17:48:25.768" v="1398" actId="408"/>
          <ac:picMkLst>
            <pc:docMk/>
            <pc:sldMk cId="1609124706" sldId="2049"/>
            <ac:picMk id="51" creationId="{587B8177-19AE-464D-82C8-821F39C98A50}"/>
          </ac:picMkLst>
        </pc:picChg>
        <pc:picChg chg="add del mod">
          <ac:chgData name="Kümmerle, Markus" userId="edb588ad-b118-44cb-93b6-335b967c9009" providerId="ADAL" clId="{22C18A0A-8C53-4F27-BA03-55841955F2E7}" dt="2023-01-14T14:34:32.985" v="62" actId="478"/>
          <ac:picMkLst>
            <pc:docMk/>
            <pc:sldMk cId="1609124706" sldId="2049"/>
            <ac:picMk id="53" creationId="{5BDF21CF-2EC6-4614-A335-C1FFB26A71C5}"/>
          </ac:picMkLst>
        </pc:picChg>
        <pc:picChg chg="add mod">
          <ac:chgData name="Kümmerle, Markus" userId="edb588ad-b118-44cb-93b6-335b967c9009" providerId="ADAL" clId="{22C18A0A-8C53-4F27-BA03-55841955F2E7}" dt="2023-02-18T17:50:17.815" v="1415" actId="408"/>
          <ac:picMkLst>
            <pc:docMk/>
            <pc:sldMk cId="1609124706" sldId="2049"/>
            <ac:picMk id="53" creationId="{7A650827-C957-48F7-A9AB-263BB8383C87}"/>
          </ac:picMkLst>
        </pc:picChg>
        <pc:picChg chg="add mod">
          <ac:chgData name="Kümmerle, Markus" userId="edb588ad-b118-44cb-93b6-335b967c9009" providerId="ADAL" clId="{22C18A0A-8C53-4F27-BA03-55841955F2E7}" dt="2023-02-18T17:48:25.768" v="1398" actId="408"/>
          <ac:picMkLst>
            <pc:docMk/>
            <pc:sldMk cId="1609124706" sldId="2049"/>
            <ac:picMk id="55" creationId="{14B4B932-C901-4C41-A6AC-6BA5060A96E3}"/>
          </ac:picMkLst>
        </pc:picChg>
        <pc:picChg chg="add mod">
          <ac:chgData name="Kümmerle, Markus" userId="edb588ad-b118-44cb-93b6-335b967c9009" providerId="ADAL" clId="{22C18A0A-8C53-4F27-BA03-55841955F2E7}" dt="2023-02-18T18:00:26.113" v="1940" actId="408"/>
          <ac:picMkLst>
            <pc:docMk/>
            <pc:sldMk cId="1609124706" sldId="2049"/>
            <ac:picMk id="56" creationId="{95ACBDA9-FDAC-4AF3-A662-9F35BF722A4B}"/>
          </ac:picMkLst>
        </pc:picChg>
        <pc:picChg chg="add mod">
          <ac:chgData name="Kümmerle, Markus" userId="edb588ad-b118-44cb-93b6-335b967c9009" providerId="ADAL" clId="{22C18A0A-8C53-4F27-BA03-55841955F2E7}" dt="2023-02-18T17:54:00.780" v="1727" actId="1035"/>
          <ac:picMkLst>
            <pc:docMk/>
            <pc:sldMk cId="1609124706" sldId="2049"/>
            <ac:picMk id="57" creationId="{5CFEEC0C-3BB8-4FE9-ABB0-8F95ABC83AD8}"/>
          </ac:picMkLst>
        </pc:picChg>
        <pc:picChg chg="add mod">
          <ac:chgData name="Kümmerle, Markus" userId="edb588ad-b118-44cb-93b6-335b967c9009" providerId="ADAL" clId="{22C18A0A-8C53-4F27-BA03-55841955F2E7}" dt="2023-02-18T17:55:45.273" v="1740" actId="408"/>
          <ac:picMkLst>
            <pc:docMk/>
            <pc:sldMk cId="1609124706" sldId="2049"/>
            <ac:picMk id="59" creationId="{6E96CCB7-996E-4505-BF69-A7BDFBCBBF41}"/>
          </ac:picMkLst>
        </pc:picChg>
        <pc:picChg chg="add mod">
          <ac:chgData name="Kümmerle, Markus" userId="edb588ad-b118-44cb-93b6-335b967c9009" providerId="ADAL" clId="{22C18A0A-8C53-4F27-BA03-55841955F2E7}" dt="2023-02-18T18:00:40.182" v="1963" actId="1038"/>
          <ac:picMkLst>
            <pc:docMk/>
            <pc:sldMk cId="1609124706" sldId="2049"/>
            <ac:picMk id="69" creationId="{3E978858-69F1-4636-939D-6D25B29693D4}"/>
          </ac:picMkLst>
        </pc:picChg>
        <pc:picChg chg="add mod">
          <ac:chgData name="Kümmerle, Markus" userId="edb588ad-b118-44cb-93b6-335b967c9009" providerId="ADAL" clId="{22C18A0A-8C53-4F27-BA03-55841955F2E7}" dt="2023-02-18T18:00:26.113" v="1940" actId="408"/>
          <ac:picMkLst>
            <pc:docMk/>
            <pc:sldMk cId="1609124706" sldId="2049"/>
            <ac:picMk id="70" creationId="{9D773627-D10F-4720-83FC-DEB9C562F7BF}"/>
          </ac:picMkLst>
        </pc:picChg>
        <pc:picChg chg="add mod">
          <ac:chgData name="Kümmerle, Markus" userId="edb588ad-b118-44cb-93b6-335b967c9009" providerId="ADAL" clId="{22C18A0A-8C53-4F27-BA03-55841955F2E7}" dt="2023-02-18T17:55:45.273" v="1740" actId="408"/>
          <ac:picMkLst>
            <pc:docMk/>
            <pc:sldMk cId="1609124706" sldId="2049"/>
            <ac:picMk id="72" creationId="{E8AF08B7-76A5-4A14-AE74-7CBE45D8A72E}"/>
          </ac:picMkLst>
        </pc:picChg>
        <pc:picChg chg="add mod">
          <ac:chgData name="Kümmerle, Markus" userId="edb588ad-b118-44cb-93b6-335b967c9009" providerId="ADAL" clId="{22C18A0A-8C53-4F27-BA03-55841955F2E7}" dt="2023-02-18T17:56:36.935" v="1757" actId="1038"/>
          <ac:picMkLst>
            <pc:docMk/>
            <pc:sldMk cId="1609124706" sldId="2049"/>
            <ac:picMk id="74" creationId="{520FA819-B519-4FA5-BCD4-6513C874827D}"/>
          </ac:picMkLst>
        </pc:picChg>
        <pc:picChg chg="add mod">
          <ac:chgData name="Kümmerle, Markus" userId="edb588ad-b118-44cb-93b6-335b967c9009" providerId="ADAL" clId="{22C18A0A-8C53-4F27-BA03-55841955F2E7}" dt="2023-02-18T17:56:54.448" v="1774" actId="1038"/>
          <ac:picMkLst>
            <pc:docMk/>
            <pc:sldMk cId="1609124706" sldId="2049"/>
            <ac:picMk id="76" creationId="{C3CD0966-26A5-4BBC-A018-372DF364DD64}"/>
          </ac:picMkLst>
        </pc:picChg>
        <pc:picChg chg="add mod">
          <ac:chgData name="Kümmerle, Markus" userId="edb588ad-b118-44cb-93b6-335b967c9009" providerId="ADAL" clId="{22C18A0A-8C53-4F27-BA03-55841955F2E7}" dt="2023-02-18T17:57:01.379" v="1786" actId="1037"/>
          <ac:picMkLst>
            <pc:docMk/>
            <pc:sldMk cId="1609124706" sldId="2049"/>
            <ac:picMk id="78" creationId="{8807F4A3-4B71-4EE8-A3B0-0D10CC34DAB4}"/>
          </ac:picMkLst>
        </pc:picChg>
        <pc:picChg chg="add mod">
          <ac:chgData name="Kümmerle, Markus" userId="edb588ad-b118-44cb-93b6-335b967c9009" providerId="ADAL" clId="{22C18A0A-8C53-4F27-BA03-55841955F2E7}" dt="2023-02-18T17:55:45.273" v="1740" actId="408"/>
          <ac:picMkLst>
            <pc:docMk/>
            <pc:sldMk cId="1609124706" sldId="2049"/>
            <ac:picMk id="80" creationId="{C8DCD81E-7324-425D-9D43-E0C382BAE740}"/>
          </ac:picMkLst>
        </pc:picChg>
        <pc:picChg chg="mod">
          <ac:chgData name="Kümmerle, Markus" userId="edb588ad-b118-44cb-93b6-335b967c9009" providerId="ADAL" clId="{22C18A0A-8C53-4F27-BA03-55841955F2E7}" dt="2023-02-18T18:00:26.113" v="1940" actId="408"/>
          <ac:picMkLst>
            <pc:docMk/>
            <pc:sldMk cId="1609124706" sldId="2049"/>
            <ac:picMk id="3088" creationId="{F72A8B7E-732E-4B0C-8588-1320247D45E5}"/>
          </ac:picMkLst>
        </pc:picChg>
        <pc:picChg chg="mod">
          <ac:chgData name="Kümmerle, Markus" userId="edb588ad-b118-44cb-93b6-335b967c9009" providerId="ADAL" clId="{22C18A0A-8C53-4F27-BA03-55841955F2E7}" dt="2023-02-18T17:56:36.935" v="1757" actId="1038"/>
          <ac:picMkLst>
            <pc:docMk/>
            <pc:sldMk cId="1609124706" sldId="2049"/>
            <ac:picMk id="3089" creationId="{D3BB906B-B65F-4A67-98C4-862449CD2D41}"/>
          </ac:picMkLst>
        </pc:picChg>
        <pc:picChg chg="mod">
          <ac:chgData name="Kümmerle, Markus" userId="edb588ad-b118-44cb-93b6-335b967c9009" providerId="ADAL" clId="{22C18A0A-8C53-4F27-BA03-55841955F2E7}" dt="2023-02-19T09:37:41.715" v="2045" actId="1076"/>
          <ac:picMkLst>
            <pc:docMk/>
            <pc:sldMk cId="1609124706" sldId="2049"/>
            <ac:picMk id="3093" creationId="{9FDAEF24-BA7D-4E72-B3BE-2D955FC524C1}"/>
          </ac:picMkLst>
        </pc:picChg>
        <pc:picChg chg="mod">
          <ac:chgData name="Kümmerle, Markus" userId="edb588ad-b118-44cb-93b6-335b967c9009" providerId="ADAL" clId="{22C18A0A-8C53-4F27-BA03-55841955F2E7}" dt="2023-02-18T17:46:16.606" v="1384" actId="408"/>
          <ac:picMkLst>
            <pc:docMk/>
            <pc:sldMk cId="1609124706" sldId="2049"/>
            <ac:picMk id="3098" creationId="{7DBDD973-78E3-47C6-8AA8-44941886C608}"/>
          </ac:picMkLst>
        </pc:picChg>
      </pc:sldChg>
      <pc:sldChg chg="modSp mod">
        <pc:chgData name="Kümmerle, Markus" userId="edb588ad-b118-44cb-93b6-335b967c9009" providerId="ADAL" clId="{22C18A0A-8C53-4F27-BA03-55841955F2E7}" dt="2023-01-24T14:19:53.856" v="361" actId="20577"/>
        <pc:sldMkLst>
          <pc:docMk/>
          <pc:sldMk cId="3162489601" sldId="2050"/>
        </pc:sldMkLst>
        <pc:spChg chg="mod">
          <ac:chgData name="Kümmerle, Markus" userId="edb588ad-b118-44cb-93b6-335b967c9009" providerId="ADAL" clId="{22C18A0A-8C53-4F27-BA03-55841955F2E7}" dt="2023-01-24T14:19:53.856" v="361" actId="20577"/>
          <ac:spMkLst>
            <pc:docMk/>
            <pc:sldMk cId="3162489601" sldId="2050"/>
            <ac:spMk id="16" creationId="{06D8E8A4-FD87-4133-9874-51DB08EA8B6F}"/>
          </ac:spMkLst>
        </pc:spChg>
      </pc:sldChg>
      <pc:sldChg chg="modSp mod">
        <pc:chgData name="Kümmerle, Markus" userId="edb588ad-b118-44cb-93b6-335b967c9009" providerId="ADAL" clId="{22C18A0A-8C53-4F27-BA03-55841955F2E7}" dt="2023-01-24T14:32:25.807" v="376" actId="20577"/>
        <pc:sldMkLst>
          <pc:docMk/>
          <pc:sldMk cId="3353845272" sldId="2051"/>
        </pc:sldMkLst>
        <pc:spChg chg="mod">
          <ac:chgData name="Kümmerle, Markus" userId="edb588ad-b118-44cb-93b6-335b967c9009" providerId="ADAL" clId="{22C18A0A-8C53-4F27-BA03-55841955F2E7}" dt="2023-01-24T14:32:25.807" v="376" actId="20577"/>
          <ac:spMkLst>
            <pc:docMk/>
            <pc:sldMk cId="3353845272" sldId="2051"/>
            <ac:spMk id="11" creationId="{7A58E756-6C9A-43DA-9594-D1041343F2A4}"/>
          </ac:spMkLst>
        </pc:spChg>
      </pc:sldChg>
      <pc:sldChg chg="modSp mod">
        <pc:chgData name="Kümmerle, Markus" userId="edb588ad-b118-44cb-93b6-335b967c9009" providerId="ADAL" clId="{22C18A0A-8C53-4F27-BA03-55841955F2E7}" dt="2023-01-24T14:33:57.141" v="412" actId="20577"/>
        <pc:sldMkLst>
          <pc:docMk/>
          <pc:sldMk cId="14940823" sldId="2052"/>
        </pc:sldMkLst>
        <pc:spChg chg="mod">
          <ac:chgData name="Kümmerle, Markus" userId="edb588ad-b118-44cb-93b6-335b967c9009" providerId="ADAL" clId="{22C18A0A-8C53-4F27-BA03-55841955F2E7}" dt="2023-01-24T14:33:57.141" v="412" actId="20577"/>
          <ac:spMkLst>
            <pc:docMk/>
            <pc:sldMk cId="14940823" sldId="2052"/>
            <ac:spMk id="11" creationId="{7A58E756-6C9A-43DA-9594-D1041343F2A4}"/>
          </ac:spMkLst>
        </pc:spChg>
      </pc:sldChg>
      <pc:sldChg chg="addSp delSp modSp mod">
        <pc:chgData name="Kümmerle, Markus" userId="edb588ad-b118-44cb-93b6-335b967c9009" providerId="ADAL" clId="{22C18A0A-8C53-4F27-BA03-55841955F2E7}" dt="2023-01-27T15:54:57.540" v="515" actId="1037"/>
        <pc:sldMkLst>
          <pc:docMk/>
          <pc:sldMk cId="3818869894" sldId="2054"/>
        </pc:sldMkLst>
        <pc:spChg chg="mod ord">
          <ac:chgData name="Kümmerle, Markus" userId="edb588ad-b118-44cb-93b6-335b967c9009" providerId="ADAL" clId="{22C18A0A-8C53-4F27-BA03-55841955F2E7}" dt="2023-01-27T15:54:14.050" v="488"/>
          <ac:spMkLst>
            <pc:docMk/>
            <pc:sldMk cId="3818869894" sldId="2054"/>
            <ac:spMk id="2" creationId="{2B73D7CB-E55B-ED4D-A567-274B625D4CEF}"/>
          </ac:spMkLst>
        </pc:spChg>
        <pc:spChg chg="mod ord">
          <ac:chgData name="Kümmerle, Markus" userId="edb588ad-b118-44cb-93b6-335b967c9009" providerId="ADAL" clId="{22C18A0A-8C53-4F27-BA03-55841955F2E7}" dt="2023-01-27T15:54:14.050" v="486"/>
          <ac:spMkLst>
            <pc:docMk/>
            <pc:sldMk cId="3818869894" sldId="2054"/>
            <ac:spMk id="4" creationId="{F21FBA62-7C92-48CE-A159-19EB9B276E15}"/>
          </ac:spMkLst>
        </pc:spChg>
        <pc:spChg chg="mod ord">
          <ac:chgData name="Kümmerle, Markus" userId="edb588ad-b118-44cb-93b6-335b967c9009" providerId="ADAL" clId="{22C18A0A-8C53-4F27-BA03-55841955F2E7}" dt="2023-01-27T15:54:14.049" v="484"/>
          <ac:spMkLst>
            <pc:docMk/>
            <pc:sldMk cId="3818869894" sldId="2054"/>
            <ac:spMk id="10" creationId="{25960A51-DA50-4FA4-9454-D5DB4095EEC8}"/>
          </ac:spMkLst>
        </pc:spChg>
        <pc:spChg chg="mod ord">
          <ac:chgData name="Kümmerle, Markus" userId="edb588ad-b118-44cb-93b6-335b967c9009" providerId="ADAL" clId="{22C18A0A-8C53-4F27-BA03-55841955F2E7}" dt="2023-01-27T15:54:14.052" v="490"/>
          <ac:spMkLst>
            <pc:docMk/>
            <pc:sldMk cId="3818869894" sldId="2054"/>
            <ac:spMk id="16" creationId="{06D8E8A4-FD87-4133-9874-51DB08EA8B6F}"/>
          </ac:spMkLst>
        </pc:spChg>
        <pc:graphicFrameChg chg="mod">
          <ac:chgData name="Kümmerle, Markus" userId="edb588ad-b118-44cb-93b6-335b967c9009" providerId="ADAL" clId="{22C18A0A-8C53-4F27-BA03-55841955F2E7}" dt="2023-01-27T15:54:14.069" v="499"/>
          <ac:graphicFrameMkLst>
            <pc:docMk/>
            <pc:sldMk cId="3818869894" sldId="2054"/>
            <ac:graphicFrameMk id="5" creationId="{24EAA83B-388C-42C7-9B96-60997077107C}"/>
          </ac:graphicFrameMkLst>
        </pc:graphicFrameChg>
        <pc:picChg chg="mod ord">
          <ac:chgData name="Kümmerle, Markus" userId="edb588ad-b118-44cb-93b6-335b967c9009" providerId="ADAL" clId="{22C18A0A-8C53-4F27-BA03-55841955F2E7}" dt="2023-01-27T15:54:57.540" v="515" actId="1037"/>
          <ac:picMkLst>
            <pc:docMk/>
            <pc:sldMk cId="3818869894" sldId="2054"/>
            <ac:picMk id="3" creationId="{0697E297-C188-48B8-8C6D-4E4CD53E5B76}"/>
          </ac:picMkLst>
        </pc:picChg>
        <pc:picChg chg="del mod ord">
          <ac:chgData name="Kümmerle, Markus" userId="edb588ad-b118-44cb-93b6-335b967c9009" providerId="ADAL" clId="{22C18A0A-8C53-4F27-BA03-55841955F2E7}" dt="2023-01-27T15:54:16.876" v="500" actId="478"/>
          <ac:picMkLst>
            <pc:docMk/>
            <pc:sldMk cId="3818869894" sldId="2054"/>
            <ac:picMk id="7" creationId="{C57325BD-C8EC-4C63-9580-CEC7EBF21688}"/>
          </ac:picMkLst>
        </pc:picChg>
        <pc:picChg chg="mod ord">
          <ac:chgData name="Kümmerle, Markus" userId="edb588ad-b118-44cb-93b6-335b967c9009" providerId="ADAL" clId="{22C18A0A-8C53-4F27-BA03-55841955F2E7}" dt="2023-01-27T15:54:14.056" v="496"/>
          <ac:picMkLst>
            <pc:docMk/>
            <pc:sldMk cId="3818869894" sldId="2054"/>
            <ac:picMk id="11" creationId="{6009E1CF-41A4-4804-8F9E-99D9470FEDCC}"/>
          </ac:picMkLst>
        </pc:picChg>
        <pc:picChg chg="add mod">
          <ac:chgData name="Kümmerle, Markus" userId="edb588ad-b118-44cb-93b6-335b967c9009" providerId="ADAL" clId="{22C18A0A-8C53-4F27-BA03-55841955F2E7}" dt="2023-01-27T15:54:57.540" v="515" actId="1037"/>
          <ac:picMkLst>
            <pc:docMk/>
            <pc:sldMk cId="3818869894" sldId="2054"/>
            <ac:picMk id="12" creationId="{BC9CFFDD-1923-4081-BAE4-177361E92535}"/>
          </ac:picMkLst>
        </pc:picChg>
        <pc:picChg chg="mod ord">
          <ac:chgData name="Kümmerle, Markus" userId="edb588ad-b118-44cb-93b6-335b967c9009" providerId="ADAL" clId="{22C18A0A-8C53-4F27-BA03-55841955F2E7}" dt="2023-01-27T15:54:14.047" v="482"/>
          <ac:picMkLst>
            <pc:docMk/>
            <pc:sldMk cId="3818869894" sldId="2054"/>
            <ac:picMk id="20" creationId="{7420D4EE-B801-4BDF-B646-8C16B214FA03}"/>
          </ac:picMkLst>
        </pc:picChg>
      </pc:sldChg>
      <pc:sldChg chg="addSp delSp modSp add mod">
        <pc:chgData name="Kümmerle, Markus" userId="edb588ad-b118-44cb-93b6-335b967c9009" providerId="ADAL" clId="{22C18A0A-8C53-4F27-BA03-55841955F2E7}" dt="2023-01-27T17:10:38.988" v="873" actId="20577"/>
        <pc:sldMkLst>
          <pc:docMk/>
          <pc:sldMk cId="74755214" sldId="2056"/>
        </pc:sldMkLst>
        <pc:spChg chg="mod ord">
          <ac:chgData name="Kümmerle, Markus" userId="edb588ad-b118-44cb-93b6-335b967c9009" providerId="ADAL" clId="{22C18A0A-8C53-4F27-BA03-55841955F2E7}" dt="2023-01-27T16:33:02.644" v="556"/>
          <ac:spMkLst>
            <pc:docMk/>
            <pc:sldMk cId="74755214" sldId="2056"/>
            <ac:spMk id="2" creationId="{2B73D7CB-E55B-ED4D-A567-274B625D4CEF}"/>
          </ac:spMkLst>
        </pc:spChg>
        <pc:spChg chg="mod ord">
          <ac:chgData name="Kümmerle, Markus" userId="edb588ad-b118-44cb-93b6-335b967c9009" providerId="ADAL" clId="{22C18A0A-8C53-4F27-BA03-55841955F2E7}" dt="2023-01-27T16:33:02.643" v="554"/>
          <ac:spMkLst>
            <pc:docMk/>
            <pc:sldMk cId="74755214" sldId="2056"/>
            <ac:spMk id="4" creationId="{F21FBA62-7C92-48CE-A159-19EB9B276E15}"/>
          </ac:spMkLst>
        </pc:spChg>
        <pc:spChg chg="mod ord">
          <ac:chgData name="Kümmerle, Markus" userId="edb588ad-b118-44cb-93b6-335b967c9009" providerId="ADAL" clId="{22C18A0A-8C53-4F27-BA03-55841955F2E7}" dt="2023-01-27T16:33:02.642" v="552"/>
          <ac:spMkLst>
            <pc:docMk/>
            <pc:sldMk cId="74755214" sldId="2056"/>
            <ac:spMk id="12" creationId="{A7410CB4-A77B-4A86-A8C7-DD7A46A6A8BD}"/>
          </ac:spMkLst>
        </pc:spChg>
        <pc:spChg chg="mod ord">
          <ac:chgData name="Kümmerle, Markus" userId="edb588ad-b118-44cb-93b6-335b967c9009" providerId="ADAL" clId="{22C18A0A-8C53-4F27-BA03-55841955F2E7}" dt="2023-01-27T17:10:38.988" v="873" actId="20577"/>
          <ac:spMkLst>
            <pc:docMk/>
            <pc:sldMk cId="74755214" sldId="2056"/>
            <ac:spMk id="16" creationId="{06D8E8A4-FD87-4133-9874-51DB08EA8B6F}"/>
          </ac:spMkLst>
        </pc:spChg>
        <pc:graphicFrameChg chg="mod">
          <ac:chgData name="Kümmerle, Markus" userId="edb588ad-b118-44cb-93b6-335b967c9009" providerId="ADAL" clId="{22C18A0A-8C53-4F27-BA03-55841955F2E7}" dt="2023-01-27T16:33:02.647" v="563"/>
          <ac:graphicFrameMkLst>
            <pc:docMk/>
            <pc:sldMk cId="74755214" sldId="2056"/>
            <ac:graphicFrameMk id="5" creationId="{24EAA83B-388C-42C7-9B96-60997077107C}"/>
          </ac:graphicFrameMkLst>
        </pc:graphicFrameChg>
        <pc:picChg chg="add mod">
          <ac:chgData name="Kümmerle, Markus" userId="edb588ad-b118-44cb-93b6-335b967c9009" providerId="ADAL" clId="{22C18A0A-8C53-4F27-BA03-55841955F2E7}" dt="2023-01-27T16:59:13.418" v="653" actId="1582"/>
          <ac:picMkLst>
            <pc:docMk/>
            <pc:sldMk cId="74755214" sldId="2056"/>
            <ac:picMk id="6" creationId="{40D65222-A6D5-4071-B6E4-1BC843A5D659}"/>
          </ac:picMkLst>
        </pc:picChg>
        <pc:picChg chg="del mod ord">
          <ac:chgData name="Kümmerle, Markus" userId="edb588ad-b118-44cb-93b6-335b967c9009" providerId="ADAL" clId="{22C18A0A-8C53-4F27-BA03-55841955F2E7}" dt="2023-01-27T16:33:06.513" v="564" actId="478"/>
          <ac:picMkLst>
            <pc:docMk/>
            <pc:sldMk cId="74755214" sldId="2056"/>
            <ac:picMk id="11" creationId="{1389DC7D-BF43-4B84-BC24-DF4F06F82C94}"/>
          </ac:picMkLst>
        </pc:picChg>
        <pc:picChg chg="mod ord">
          <ac:chgData name="Kümmerle, Markus" userId="edb588ad-b118-44cb-93b6-335b967c9009" providerId="ADAL" clId="{22C18A0A-8C53-4F27-BA03-55841955F2E7}" dt="2023-01-27T16:33:02.642" v="550"/>
          <ac:picMkLst>
            <pc:docMk/>
            <pc:sldMk cId="74755214" sldId="2056"/>
            <ac:picMk id="18" creationId="{E2E5C611-362D-42CB-B844-6AFBDA401772}"/>
          </ac:picMkLst>
        </pc:picChg>
      </pc:sldChg>
      <pc:sldChg chg="addSp delSp modSp add mod">
        <pc:chgData name="Kümmerle, Markus" userId="edb588ad-b118-44cb-93b6-335b967c9009" providerId="ADAL" clId="{22C18A0A-8C53-4F27-BA03-55841955F2E7}" dt="2023-02-18T17:37:32.931" v="1317" actId="1035"/>
        <pc:sldMkLst>
          <pc:docMk/>
          <pc:sldMk cId="172412941" sldId="2057"/>
        </pc:sldMkLst>
        <pc:spChg chg="mod ord">
          <ac:chgData name="Kümmerle, Markus" userId="edb588ad-b118-44cb-93b6-335b967c9009" providerId="ADAL" clId="{22C18A0A-8C53-4F27-BA03-55841955F2E7}" dt="2023-01-27T17:12:12.968" v="890"/>
          <ac:spMkLst>
            <pc:docMk/>
            <pc:sldMk cId="172412941" sldId="2057"/>
            <ac:spMk id="2" creationId="{2B73D7CB-E55B-ED4D-A567-274B625D4CEF}"/>
          </ac:spMkLst>
        </pc:spChg>
        <pc:spChg chg="mod topLvl">
          <ac:chgData name="Kümmerle, Markus" userId="edb588ad-b118-44cb-93b6-335b967c9009" providerId="ADAL" clId="{22C18A0A-8C53-4F27-BA03-55841955F2E7}" dt="2023-02-18T17:37:32.931" v="1317" actId="1035"/>
          <ac:spMkLst>
            <pc:docMk/>
            <pc:sldMk cId="172412941" sldId="2057"/>
            <ac:spMk id="3" creationId="{9F1170BD-6332-4D01-876A-B807C25C2B11}"/>
          </ac:spMkLst>
        </pc:spChg>
        <pc:spChg chg="mod ord">
          <ac:chgData name="Kümmerle, Markus" userId="edb588ad-b118-44cb-93b6-335b967c9009" providerId="ADAL" clId="{22C18A0A-8C53-4F27-BA03-55841955F2E7}" dt="2023-01-27T17:12:12.968" v="888"/>
          <ac:spMkLst>
            <pc:docMk/>
            <pc:sldMk cId="172412941" sldId="2057"/>
            <ac:spMk id="4" creationId="{F21FBA62-7C92-48CE-A159-19EB9B276E15}"/>
          </ac:spMkLst>
        </pc:spChg>
        <pc:spChg chg="add del mod modVis">
          <ac:chgData name="Kümmerle, Markus" userId="edb588ad-b118-44cb-93b6-335b967c9009" providerId="ADAL" clId="{22C18A0A-8C53-4F27-BA03-55841955F2E7}" dt="2023-01-27T17:08:03.636" v="704"/>
          <ac:spMkLst>
            <pc:docMk/>
            <pc:sldMk cId="172412941" sldId="2057"/>
            <ac:spMk id="7" creationId="{5871F396-89CD-4DAC-ADCE-3E9FDAD3B22B}"/>
          </ac:spMkLst>
        </pc:spChg>
        <pc:spChg chg="mod topLvl">
          <ac:chgData name="Kümmerle, Markus" userId="edb588ad-b118-44cb-93b6-335b967c9009" providerId="ADAL" clId="{22C18A0A-8C53-4F27-BA03-55841955F2E7}" dt="2023-02-18T17:37:32.931" v="1317" actId="1035"/>
          <ac:spMkLst>
            <pc:docMk/>
            <pc:sldMk cId="172412941" sldId="2057"/>
            <ac:spMk id="8" creationId="{C616D4FA-A5C6-4298-8A30-C73DC337C78A}"/>
          </ac:spMkLst>
        </pc:spChg>
        <pc:spChg chg="mod topLvl">
          <ac:chgData name="Kümmerle, Markus" userId="edb588ad-b118-44cb-93b6-335b967c9009" providerId="ADAL" clId="{22C18A0A-8C53-4F27-BA03-55841955F2E7}" dt="2023-02-18T17:37:32.931" v="1317" actId="1035"/>
          <ac:spMkLst>
            <pc:docMk/>
            <pc:sldMk cId="172412941" sldId="2057"/>
            <ac:spMk id="9" creationId="{8FD7FA1B-2E8A-4E3F-BF19-AFC77B7D643E}"/>
          </ac:spMkLst>
        </pc:spChg>
        <pc:spChg chg="mod ord">
          <ac:chgData name="Kümmerle, Markus" userId="edb588ad-b118-44cb-93b6-335b967c9009" providerId="ADAL" clId="{22C18A0A-8C53-4F27-BA03-55841955F2E7}" dt="2023-01-27T17:12:12.967" v="886"/>
          <ac:spMkLst>
            <pc:docMk/>
            <pc:sldMk cId="172412941" sldId="2057"/>
            <ac:spMk id="10" creationId="{92CEB740-8007-4405-A68B-2CE7FB2C9EA3}"/>
          </ac:spMkLst>
        </pc:spChg>
        <pc:spChg chg="mod ord">
          <ac:chgData name="Kümmerle, Markus" userId="edb588ad-b118-44cb-93b6-335b967c9009" providerId="ADAL" clId="{22C18A0A-8C53-4F27-BA03-55841955F2E7}" dt="2023-02-18T17:37:32.931" v="1317" actId="1035"/>
          <ac:spMkLst>
            <pc:docMk/>
            <pc:sldMk cId="172412941" sldId="2057"/>
            <ac:spMk id="11" creationId="{FBE600F5-FD46-40AC-9C0B-3CAC1D2FD1C8}"/>
          </ac:spMkLst>
        </pc:spChg>
        <pc:spChg chg="mod ord">
          <ac:chgData name="Kümmerle, Markus" userId="edb588ad-b118-44cb-93b6-335b967c9009" providerId="ADAL" clId="{22C18A0A-8C53-4F27-BA03-55841955F2E7}" dt="2023-02-18T17:37:32.931" v="1317" actId="1035"/>
          <ac:spMkLst>
            <pc:docMk/>
            <pc:sldMk cId="172412941" sldId="2057"/>
            <ac:spMk id="12" creationId="{A2DECA8A-69E0-4CD8-A6FA-C1F63D8B60B6}"/>
          </ac:spMkLst>
        </pc:spChg>
        <pc:spChg chg="mod topLvl">
          <ac:chgData name="Kümmerle, Markus" userId="edb588ad-b118-44cb-93b6-335b967c9009" providerId="ADAL" clId="{22C18A0A-8C53-4F27-BA03-55841955F2E7}" dt="2023-02-18T17:37:32.931" v="1317" actId="1035"/>
          <ac:spMkLst>
            <pc:docMk/>
            <pc:sldMk cId="172412941" sldId="2057"/>
            <ac:spMk id="13" creationId="{77FA6B07-9273-4696-821F-A92803805EB3}"/>
          </ac:spMkLst>
        </pc:spChg>
        <pc:spChg chg="mod ord">
          <ac:chgData name="Kümmerle, Markus" userId="edb588ad-b118-44cb-93b6-335b967c9009" providerId="ADAL" clId="{22C18A0A-8C53-4F27-BA03-55841955F2E7}" dt="2023-02-18T17:37:32.931" v="1317" actId="1035"/>
          <ac:spMkLst>
            <pc:docMk/>
            <pc:sldMk cId="172412941" sldId="2057"/>
            <ac:spMk id="14" creationId="{4DC8DC12-9786-44C9-B8CB-F6D3F43B16BA}"/>
          </ac:spMkLst>
        </pc:spChg>
        <pc:spChg chg="mod topLvl">
          <ac:chgData name="Kümmerle, Markus" userId="edb588ad-b118-44cb-93b6-335b967c9009" providerId="ADAL" clId="{22C18A0A-8C53-4F27-BA03-55841955F2E7}" dt="2023-02-18T17:37:32.931" v="1317" actId="1035"/>
          <ac:spMkLst>
            <pc:docMk/>
            <pc:sldMk cId="172412941" sldId="2057"/>
            <ac:spMk id="15" creationId="{000B044D-4265-4137-8AB3-EA38339513E3}"/>
          </ac:spMkLst>
        </pc:spChg>
        <pc:spChg chg="mod ord">
          <ac:chgData name="Kümmerle, Markus" userId="edb588ad-b118-44cb-93b6-335b967c9009" providerId="ADAL" clId="{22C18A0A-8C53-4F27-BA03-55841955F2E7}" dt="2023-02-18T17:37:32.931" v="1317" actId="1035"/>
          <ac:spMkLst>
            <pc:docMk/>
            <pc:sldMk cId="172412941" sldId="2057"/>
            <ac:spMk id="16" creationId="{43812F9E-D85E-4771-B437-D0C5FE9C0B2E}"/>
          </ac:spMkLst>
        </pc:spChg>
        <pc:spChg chg="add del mod modVis">
          <ac:chgData name="Kümmerle, Markus" userId="edb588ad-b118-44cb-93b6-335b967c9009" providerId="ADAL" clId="{22C18A0A-8C53-4F27-BA03-55841955F2E7}" dt="2023-01-27T17:08:04.845" v="751"/>
          <ac:spMkLst>
            <pc:docMk/>
            <pc:sldMk cId="172412941" sldId="2057"/>
            <ac:spMk id="17" creationId="{6D835499-F11E-42CE-B3EE-E3FC921E85B6}"/>
          </ac:spMkLst>
        </pc:spChg>
        <pc:spChg chg="mod ord">
          <ac:chgData name="Kümmerle, Markus" userId="edb588ad-b118-44cb-93b6-335b967c9009" providerId="ADAL" clId="{22C18A0A-8C53-4F27-BA03-55841955F2E7}" dt="2023-02-18T17:37:32.931" v="1317" actId="1035"/>
          <ac:spMkLst>
            <pc:docMk/>
            <pc:sldMk cId="172412941" sldId="2057"/>
            <ac:spMk id="18" creationId="{247E50C8-6BE6-4A96-8460-390FDB3D098B}"/>
          </ac:spMkLst>
        </pc:spChg>
        <pc:spChg chg="mod ord">
          <ac:chgData name="Kümmerle, Markus" userId="edb588ad-b118-44cb-93b6-335b967c9009" providerId="ADAL" clId="{22C18A0A-8C53-4F27-BA03-55841955F2E7}" dt="2023-02-18T17:37:32.931" v="1317" actId="1035"/>
          <ac:spMkLst>
            <pc:docMk/>
            <pc:sldMk cId="172412941" sldId="2057"/>
            <ac:spMk id="19" creationId="{3FA46A8D-2644-48EA-A39B-1B0AEE48D31C}"/>
          </ac:spMkLst>
        </pc:spChg>
        <pc:spChg chg="mod ord">
          <ac:chgData name="Kümmerle, Markus" userId="edb588ad-b118-44cb-93b6-335b967c9009" providerId="ADAL" clId="{22C18A0A-8C53-4F27-BA03-55841955F2E7}" dt="2023-02-18T17:37:32.931" v="1317" actId="1035"/>
          <ac:spMkLst>
            <pc:docMk/>
            <pc:sldMk cId="172412941" sldId="2057"/>
            <ac:spMk id="20" creationId="{78DE9D47-117E-4FCA-94F7-D785495173C8}"/>
          </ac:spMkLst>
        </pc:spChg>
        <pc:spChg chg="mod ord">
          <ac:chgData name="Kümmerle, Markus" userId="edb588ad-b118-44cb-93b6-335b967c9009" providerId="ADAL" clId="{22C18A0A-8C53-4F27-BA03-55841955F2E7}" dt="2023-02-18T17:37:32.931" v="1317" actId="1035"/>
          <ac:spMkLst>
            <pc:docMk/>
            <pc:sldMk cId="172412941" sldId="2057"/>
            <ac:spMk id="21" creationId="{667BA8AB-3EEA-4D26-A34A-79110CE94846}"/>
          </ac:spMkLst>
        </pc:spChg>
        <pc:spChg chg="mod ord">
          <ac:chgData name="Kümmerle, Markus" userId="edb588ad-b118-44cb-93b6-335b967c9009" providerId="ADAL" clId="{22C18A0A-8C53-4F27-BA03-55841955F2E7}" dt="2023-02-18T17:37:32.931" v="1317" actId="1035"/>
          <ac:spMkLst>
            <pc:docMk/>
            <pc:sldMk cId="172412941" sldId="2057"/>
            <ac:spMk id="22" creationId="{B42842BA-AE81-4786-89FF-914F39C0CC01}"/>
          </ac:spMkLst>
        </pc:spChg>
        <pc:spChg chg="add del mod modVis">
          <ac:chgData name="Kümmerle, Markus" userId="edb588ad-b118-44cb-93b6-335b967c9009" providerId="ADAL" clId="{22C18A0A-8C53-4F27-BA03-55841955F2E7}" dt="2023-01-27T17:08:15.064" v="795"/>
          <ac:spMkLst>
            <pc:docMk/>
            <pc:sldMk cId="172412941" sldId="2057"/>
            <ac:spMk id="23" creationId="{2745F41D-76A9-4513-AB9B-BC540BBDCA08}"/>
          </ac:spMkLst>
        </pc:spChg>
        <pc:spChg chg="add del mod modVis">
          <ac:chgData name="Kümmerle, Markus" userId="edb588ad-b118-44cb-93b6-335b967c9009" providerId="ADAL" clId="{22C18A0A-8C53-4F27-BA03-55841955F2E7}" dt="2023-01-27T17:08:16.107" v="839"/>
          <ac:spMkLst>
            <pc:docMk/>
            <pc:sldMk cId="172412941" sldId="2057"/>
            <ac:spMk id="24" creationId="{0D378D63-5261-4DF9-804E-16382DCC586B}"/>
          </ac:spMkLst>
        </pc:spChg>
        <pc:spChg chg="add mod">
          <ac:chgData name="Kümmerle, Markus" userId="edb588ad-b118-44cb-93b6-335b967c9009" providerId="ADAL" clId="{22C18A0A-8C53-4F27-BA03-55841955F2E7}" dt="2023-02-18T17:37:32.931" v="1317" actId="1035"/>
          <ac:spMkLst>
            <pc:docMk/>
            <pc:sldMk cId="172412941" sldId="2057"/>
            <ac:spMk id="28" creationId="{67D2D39B-EE77-4AE8-85BD-106431601049}"/>
          </ac:spMkLst>
        </pc:spChg>
        <pc:spChg chg="mod ord">
          <ac:chgData name="Kümmerle, Markus" userId="edb588ad-b118-44cb-93b6-335b967c9009" providerId="ADAL" clId="{22C18A0A-8C53-4F27-BA03-55841955F2E7}" dt="2023-02-18T17:37:32.931" v="1317" actId="1035"/>
          <ac:spMkLst>
            <pc:docMk/>
            <pc:sldMk cId="172412941" sldId="2057"/>
            <ac:spMk id="29" creationId="{2881367D-878F-4051-9C50-D93C37605055}"/>
          </ac:spMkLst>
        </pc:spChg>
        <pc:spChg chg="mod ord">
          <ac:chgData name="Kümmerle, Markus" userId="edb588ad-b118-44cb-93b6-335b967c9009" providerId="ADAL" clId="{22C18A0A-8C53-4F27-BA03-55841955F2E7}" dt="2023-02-18T17:37:32.931" v="1317" actId="1035"/>
          <ac:spMkLst>
            <pc:docMk/>
            <pc:sldMk cId="172412941" sldId="2057"/>
            <ac:spMk id="30" creationId="{CAB729A5-5B10-4447-A3C9-8492C86839E3}"/>
          </ac:spMkLst>
        </pc:spChg>
        <pc:spChg chg="mod ord">
          <ac:chgData name="Kümmerle, Markus" userId="edb588ad-b118-44cb-93b6-335b967c9009" providerId="ADAL" clId="{22C18A0A-8C53-4F27-BA03-55841955F2E7}" dt="2023-02-18T17:37:32.931" v="1317" actId="1035"/>
          <ac:spMkLst>
            <pc:docMk/>
            <pc:sldMk cId="172412941" sldId="2057"/>
            <ac:spMk id="31" creationId="{023EA5FE-49FD-4041-88FF-451C72F63BA2}"/>
          </ac:spMkLst>
        </pc:spChg>
        <pc:spChg chg="mod ord">
          <ac:chgData name="Kümmerle, Markus" userId="edb588ad-b118-44cb-93b6-335b967c9009" providerId="ADAL" clId="{22C18A0A-8C53-4F27-BA03-55841955F2E7}" dt="2023-02-18T17:37:32.931" v="1317" actId="1035"/>
          <ac:spMkLst>
            <pc:docMk/>
            <pc:sldMk cId="172412941" sldId="2057"/>
            <ac:spMk id="32" creationId="{DA8C5BB8-01E0-4223-A9FF-BE34FB837BFF}"/>
          </ac:spMkLst>
        </pc:spChg>
        <pc:spChg chg="mod ord">
          <ac:chgData name="Kümmerle, Markus" userId="edb588ad-b118-44cb-93b6-335b967c9009" providerId="ADAL" clId="{22C18A0A-8C53-4F27-BA03-55841955F2E7}" dt="2023-02-18T17:37:32.931" v="1317" actId="1035"/>
          <ac:spMkLst>
            <pc:docMk/>
            <pc:sldMk cId="172412941" sldId="2057"/>
            <ac:spMk id="33" creationId="{E602CE52-65AE-4B2D-AAE4-2B6D13D43203}"/>
          </ac:spMkLst>
        </pc:spChg>
        <pc:spChg chg="mod ord">
          <ac:chgData name="Kümmerle, Markus" userId="edb588ad-b118-44cb-93b6-335b967c9009" providerId="ADAL" clId="{22C18A0A-8C53-4F27-BA03-55841955F2E7}" dt="2023-02-18T17:37:32.931" v="1317" actId="1035"/>
          <ac:spMkLst>
            <pc:docMk/>
            <pc:sldMk cId="172412941" sldId="2057"/>
            <ac:spMk id="34" creationId="{F4E46BE0-2867-471D-9DB2-51971104E1DE}"/>
          </ac:spMkLst>
        </pc:spChg>
        <pc:spChg chg="add mod">
          <ac:chgData name="Kümmerle, Markus" userId="edb588ad-b118-44cb-93b6-335b967c9009" providerId="ADAL" clId="{22C18A0A-8C53-4F27-BA03-55841955F2E7}" dt="2023-02-18T17:37:32.931" v="1317" actId="1035"/>
          <ac:spMkLst>
            <pc:docMk/>
            <pc:sldMk cId="172412941" sldId="2057"/>
            <ac:spMk id="35" creationId="{AD7E2036-5DC4-449F-AE19-FC16A7FF6D7E}"/>
          </ac:spMkLst>
        </pc:spChg>
        <pc:spChg chg="mod ord">
          <ac:chgData name="Kümmerle, Markus" userId="edb588ad-b118-44cb-93b6-335b967c9009" providerId="ADAL" clId="{22C18A0A-8C53-4F27-BA03-55841955F2E7}" dt="2023-02-18T17:37:32.931" v="1317" actId="1035"/>
          <ac:spMkLst>
            <pc:docMk/>
            <pc:sldMk cId="172412941" sldId="2057"/>
            <ac:spMk id="36" creationId="{B59901A2-B050-414A-A683-A688E8D0AE7B}"/>
          </ac:spMkLst>
        </pc:spChg>
        <pc:spChg chg="mod topLvl">
          <ac:chgData name="Kümmerle, Markus" userId="edb588ad-b118-44cb-93b6-335b967c9009" providerId="ADAL" clId="{22C18A0A-8C53-4F27-BA03-55841955F2E7}" dt="2023-02-18T17:37:32.931" v="1317" actId="1035"/>
          <ac:spMkLst>
            <pc:docMk/>
            <pc:sldMk cId="172412941" sldId="2057"/>
            <ac:spMk id="37" creationId="{DE297ADC-9A74-4B3E-ACA1-DA0EEB68F243}"/>
          </ac:spMkLst>
        </pc:spChg>
        <pc:spChg chg="del mod ord">
          <ac:chgData name="Kümmerle, Markus" userId="edb588ad-b118-44cb-93b6-335b967c9009" providerId="ADAL" clId="{22C18A0A-8C53-4F27-BA03-55841955F2E7}" dt="2023-01-27T17:13:37.645" v="936" actId="478"/>
          <ac:spMkLst>
            <pc:docMk/>
            <pc:sldMk cId="172412941" sldId="2057"/>
            <ac:spMk id="38" creationId="{3439A92F-69B0-414C-91F4-F4E7AB6A139C}"/>
          </ac:spMkLst>
        </pc:spChg>
        <pc:grpChg chg="del mod ord">
          <ac:chgData name="Kümmerle, Markus" userId="edb588ad-b118-44cb-93b6-335b967c9009" providerId="ADAL" clId="{22C18A0A-8C53-4F27-BA03-55841955F2E7}" dt="2023-01-27T17:15:04.636" v="965" actId="165"/>
          <ac:grpSpMkLst>
            <pc:docMk/>
            <pc:sldMk cId="172412941" sldId="2057"/>
            <ac:grpSpMk id="6" creationId="{B2658A35-5138-4EDC-AD55-91D16E4ABF0B}"/>
          </ac:grpSpMkLst>
        </pc:grpChg>
        <pc:grpChg chg="del mod ord">
          <ac:chgData name="Kümmerle, Markus" userId="edb588ad-b118-44cb-93b6-335b967c9009" providerId="ADAL" clId="{22C18A0A-8C53-4F27-BA03-55841955F2E7}" dt="2023-01-27T17:15:12.018" v="967" actId="165"/>
          <ac:grpSpMkLst>
            <pc:docMk/>
            <pc:sldMk cId="172412941" sldId="2057"/>
            <ac:grpSpMk id="26" creationId="{2E89D78D-0800-4CE5-8986-62DDF7BF315D}"/>
          </ac:grpSpMkLst>
        </pc:grpChg>
        <pc:grpChg chg="del mod ord">
          <ac:chgData name="Kümmerle, Markus" userId="edb588ad-b118-44cb-93b6-335b967c9009" providerId="ADAL" clId="{22C18A0A-8C53-4F27-BA03-55841955F2E7}" dt="2023-01-27T17:15:08.311" v="966" actId="165"/>
          <ac:grpSpMkLst>
            <pc:docMk/>
            <pc:sldMk cId="172412941" sldId="2057"/>
            <ac:grpSpMk id="28" creationId="{A929D1D9-22A6-455B-BBD0-05750C5F7FD4}"/>
          </ac:grpSpMkLst>
        </pc:grpChg>
        <pc:graphicFrameChg chg="mod">
          <ac:chgData name="Kümmerle, Markus" userId="edb588ad-b118-44cb-93b6-335b967c9009" providerId="ADAL" clId="{22C18A0A-8C53-4F27-BA03-55841955F2E7}" dt="2023-01-27T17:12:12.979" v="927"/>
          <ac:graphicFrameMkLst>
            <pc:docMk/>
            <pc:sldMk cId="172412941" sldId="2057"/>
            <ac:graphicFrameMk id="5" creationId="{24EAA83B-388C-42C7-9B96-60997077107C}"/>
          </ac:graphicFrameMkLst>
        </pc:graphicFrameChg>
      </pc:sldChg>
      <pc:sldMasterChg chg="modSp mod">
        <pc:chgData name="Kümmerle, Markus" userId="edb588ad-b118-44cb-93b6-335b967c9009" providerId="ADAL" clId="{22C18A0A-8C53-4F27-BA03-55841955F2E7}" dt="2023-02-18T18:01:35.940" v="2044" actId="20577"/>
        <pc:sldMasterMkLst>
          <pc:docMk/>
          <pc:sldMasterMk cId="792883523" sldId="2147483648"/>
        </pc:sldMasterMkLst>
        <pc:spChg chg="mod">
          <ac:chgData name="Kümmerle, Markus" userId="edb588ad-b118-44cb-93b6-335b967c9009" providerId="ADAL" clId="{22C18A0A-8C53-4F27-BA03-55841955F2E7}" dt="2023-02-18T18:01:35.940" v="2044" actId="20577"/>
          <ac:spMkLst>
            <pc:docMk/>
            <pc:sldMasterMk cId="792883523" sldId="2147483648"/>
            <ac:spMk id="42" creationId="{45454B20-5506-4078-B4BE-04E554143E72}"/>
          </ac:spMkLst>
        </pc:sp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8.02.2023</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6"/>
          <a:stretch>
            <a:fillRect/>
          </a:stretch>
        </p:blipFill>
        <p:spPr>
          <a:xfrm>
            <a:off x="7776754" y="470208"/>
            <a:ext cx="3482228" cy="670403"/>
          </a:xfrm>
          <a:prstGeom prst="rect">
            <a:avLst/>
          </a:prstGeom>
        </p:spPr>
      </p:pic>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dirty="0">
                <a:solidFill>
                  <a:srgbClr val="4B4B4B"/>
                </a:solidFill>
                <a:latin typeface="FlexoSoft" panose="02000000000000000000" pitchFamily="2" charset="0"/>
                <a:ea typeface="Typold Book" panose="020B0004030204060B03" pitchFamily="34" charset="0"/>
              </a:rPr>
              <a:t>20.02.2023</a:t>
            </a:r>
            <a:endParaRPr lang="en-US" sz="900" dirty="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13" Type="http://schemas.openxmlformats.org/officeDocument/2006/relationships/image" Target="../media/image35.png"/><Relationship Id="rId18" Type="http://schemas.openxmlformats.org/officeDocument/2006/relationships/image" Target="../media/image40.png"/><Relationship Id="rId26" Type="http://schemas.openxmlformats.org/officeDocument/2006/relationships/image" Target="../media/image47.png"/><Relationship Id="rId39" Type="http://schemas.openxmlformats.org/officeDocument/2006/relationships/image" Target="../media/image60.png"/><Relationship Id="rId21" Type="http://schemas.openxmlformats.org/officeDocument/2006/relationships/image" Target="../media/image43.png"/><Relationship Id="rId34" Type="http://schemas.openxmlformats.org/officeDocument/2006/relationships/image" Target="../media/image55.jpg"/><Relationship Id="rId42" Type="http://schemas.openxmlformats.org/officeDocument/2006/relationships/image" Target="../media/image62.png"/><Relationship Id="rId47" Type="http://schemas.openxmlformats.org/officeDocument/2006/relationships/image" Target="../media/image67.png"/><Relationship Id="rId50" Type="http://schemas.openxmlformats.org/officeDocument/2006/relationships/image" Target="../media/image70.png"/><Relationship Id="rId55" Type="http://schemas.openxmlformats.org/officeDocument/2006/relationships/image" Target="../media/image75.png"/><Relationship Id="rId63" Type="http://schemas.openxmlformats.org/officeDocument/2006/relationships/image" Target="../media/image83.png"/><Relationship Id="rId7" Type="http://schemas.openxmlformats.org/officeDocument/2006/relationships/image" Target="../media/image11.png"/><Relationship Id="rId2" Type="http://schemas.openxmlformats.org/officeDocument/2006/relationships/tags" Target="../tags/tag24.xml"/><Relationship Id="rId16" Type="http://schemas.openxmlformats.org/officeDocument/2006/relationships/image" Target="../media/image38.png"/><Relationship Id="rId20" Type="http://schemas.openxmlformats.org/officeDocument/2006/relationships/image" Target="../media/image42.png"/><Relationship Id="rId29" Type="http://schemas.openxmlformats.org/officeDocument/2006/relationships/image" Target="../media/image50.png"/><Relationship Id="rId41" Type="http://schemas.openxmlformats.org/officeDocument/2006/relationships/image" Target="../media/image18.png"/><Relationship Id="rId54" Type="http://schemas.openxmlformats.org/officeDocument/2006/relationships/image" Target="../media/image74.png"/><Relationship Id="rId62" Type="http://schemas.openxmlformats.org/officeDocument/2006/relationships/image" Target="../media/image82.png"/><Relationship Id="rId1" Type="http://schemas.openxmlformats.org/officeDocument/2006/relationships/tags" Target="../tags/tag23.xml"/><Relationship Id="rId6" Type="http://schemas.openxmlformats.org/officeDocument/2006/relationships/image" Target="../media/image6.emf"/><Relationship Id="rId11" Type="http://schemas.openxmlformats.org/officeDocument/2006/relationships/image" Target="../media/image33.png"/><Relationship Id="rId24" Type="http://schemas.openxmlformats.org/officeDocument/2006/relationships/image" Target="../media/image45.png"/><Relationship Id="rId32" Type="http://schemas.openxmlformats.org/officeDocument/2006/relationships/image" Target="../media/image53.png"/><Relationship Id="rId37" Type="http://schemas.openxmlformats.org/officeDocument/2006/relationships/image" Target="../media/image58.png"/><Relationship Id="rId40" Type="http://schemas.openxmlformats.org/officeDocument/2006/relationships/image" Target="../media/image61.png"/><Relationship Id="rId45" Type="http://schemas.openxmlformats.org/officeDocument/2006/relationships/image" Target="../media/image65.png"/><Relationship Id="rId53" Type="http://schemas.openxmlformats.org/officeDocument/2006/relationships/image" Target="../media/image73.png"/><Relationship Id="rId58" Type="http://schemas.openxmlformats.org/officeDocument/2006/relationships/image" Target="../media/image78.png"/><Relationship Id="rId66" Type="http://schemas.openxmlformats.org/officeDocument/2006/relationships/image" Target="../media/image86.png"/><Relationship Id="rId5" Type="http://schemas.openxmlformats.org/officeDocument/2006/relationships/oleObject" Target="../embeddings/oleObject13.bin"/><Relationship Id="rId15" Type="http://schemas.openxmlformats.org/officeDocument/2006/relationships/image" Target="../media/image37.png"/><Relationship Id="rId23" Type="http://schemas.openxmlformats.org/officeDocument/2006/relationships/image" Target="../media/image44.png"/><Relationship Id="rId28" Type="http://schemas.openxmlformats.org/officeDocument/2006/relationships/image" Target="../media/image49.png"/><Relationship Id="rId36" Type="http://schemas.openxmlformats.org/officeDocument/2006/relationships/image" Target="../media/image57.png"/><Relationship Id="rId49" Type="http://schemas.openxmlformats.org/officeDocument/2006/relationships/image" Target="../media/image69.png"/><Relationship Id="rId57" Type="http://schemas.openxmlformats.org/officeDocument/2006/relationships/image" Target="../media/image77.png"/><Relationship Id="rId61" Type="http://schemas.openxmlformats.org/officeDocument/2006/relationships/image" Target="../media/image81.png"/><Relationship Id="rId10" Type="http://schemas.openxmlformats.org/officeDocument/2006/relationships/image" Target="../media/image32.png"/><Relationship Id="rId19" Type="http://schemas.openxmlformats.org/officeDocument/2006/relationships/image" Target="../media/image41.png"/><Relationship Id="rId31" Type="http://schemas.openxmlformats.org/officeDocument/2006/relationships/image" Target="../media/image52.png"/><Relationship Id="rId44" Type="http://schemas.openxmlformats.org/officeDocument/2006/relationships/image" Target="../media/image64.svg"/><Relationship Id="rId52" Type="http://schemas.openxmlformats.org/officeDocument/2006/relationships/image" Target="../media/image72.png"/><Relationship Id="rId60" Type="http://schemas.openxmlformats.org/officeDocument/2006/relationships/image" Target="../media/image80.png"/><Relationship Id="rId65" Type="http://schemas.openxmlformats.org/officeDocument/2006/relationships/image" Target="../media/image85.png"/><Relationship Id="rId4" Type="http://schemas.openxmlformats.org/officeDocument/2006/relationships/notesSlide" Target="../notesSlides/notesSlide2.xml"/><Relationship Id="rId9" Type="http://schemas.openxmlformats.org/officeDocument/2006/relationships/image" Target="../media/image31.png"/><Relationship Id="rId14" Type="http://schemas.openxmlformats.org/officeDocument/2006/relationships/image" Target="../media/image36.png"/><Relationship Id="rId22" Type="http://schemas.openxmlformats.org/officeDocument/2006/relationships/image" Target="../media/image15.png"/><Relationship Id="rId27" Type="http://schemas.openxmlformats.org/officeDocument/2006/relationships/image" Target="../media/image48.png"/><Relationship Id="rId30" Type="http://schemas.openxmlformats.org/officeDocument/2006/relationships/image" Target="../media/image51.png"/><Relationship Id="rId35" Type="http://schemas.openxmlformats.org/officeDocument/2006/relationships/image" Target="../media/image56.png"/><Relationship Id="rId43" Type="http://schemas.openxmlformats.org/officeDocument/2006/relationships/image" Target="../media/image63.png"/><Relationship Id="rId48" Type="http://schemas.openxmlformats.org/officeDocument/2006/relationships/image" Target="../media/image68.png"/><Relationship Id="rId56" Type="http://schemas.openxmlformats.org/officeDocument/2006/relationships/image" Target="../media/image76.png"/><Relationship Id="rId64" Type="http://schemas.openxmlformats.org/officeDocument/2006/relationships/image" Target="../media/image84.png"/><Relationship Id="rId8" Type="http://schemas.openxmlformats.org/officeDocument/2006/relationships/image" Target="../media/image30.png"/><Relationship Id="rId51" Type="http://schemas.openxmlformats.org/officeDocument/2006/relationships/image" Target="../media/image71.png"/><Relationship Id="rId3" Type="http://schemas.openxmlformats.org/officeDocument/2006/relationships/slideLayout" Target="../slideLayouts/slideLayout2.xml"/><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6.png"/><Relationship Id="rId33" Type="http://schemas.openxmlformats.org/officeDocument/2006/relationships/image" Target="../media/image54.png"/><Relationship Id="rId38" Type="http://schemas.openxmlformats.org/officeDocument/2006/relationships/image" Target="../media/image59.png"/><Relationship Id="rId46" Type="http://schemas.openxmlformats.org/officeDocument/2006/relationships/image" Target="../media/image66.png"/><Relationship Id="rId59" Type="http://schemas.openxmlformats.org/officeDocument/2006/relationships/image" Target="../media/image79.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6.emf"/><Relationship Id="rId4"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8" Type="http://schemas.openxmlformats.org/officeDocument/2006/relationships/hyperlink" Target="https://camaraproject.org/contact/" TargetMode="External"/><Relationship Id="rId3" Type="http://schemas.openxmlformats.org/officeDocument/2006/relationships/slideLayout" Target="../slideLayouts/slideLayout2.xml"/><Relationship Id="rId7" Type="http://schemas.openxmlformats.org/officeDocument/2006/relationships/hyperlink" Target="mailto:all+subscribe@lists.camaraproject.org" TargetMode="Externa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1.png"/><Relationship Id="rId5" Type="http://schemas.openxmlformats.org/officeDocument/2006/relationships/image" Target="../media/image6.emf"/><Relationship Id="rId4" Type="http://schemas.openxmlformats.org/officeDocument/2006/relationships/oleObject" Target="../embeddings/oleObject15.bin"/><Relationship Id="rId9" Type="http://schemas.openxmlformats.org/officeDocument/2006/relationships/image" Target="../media/image87.png"/></Relationships>
</file>

<file path=ppt/slides/_rels/slide13.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slideLayout" Target="../slideLayouts/slideLayout3.xml"/><Relationship Id="rId1" Type="http://schemas.openxmlformats.org/officeDocument/2006/relationships/tags" Target="../tags/tag29.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5.bin"/><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6.emf"/><Relationship Id="rId10" Type="http://schemas.openxmlformats.org/officeDocument/2006/relationships/image" Target="../media/image11.png"/><Relationship Id="rId4" Type="http://schemas.openxmlformats.org/officeDocument/2006/relationships/oleObject" Target="../embeddings/oleObject6.bin"/><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1.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18.png"/><Relationship Id="rId4" Type="http://schemas.openxmlformats.org/officeDocument/2006/relationships/oleObject" Target="../embeddings/oleObject10.bin"/><Relationship Id="rId9" Type="http://schemas.openxmlformats.org/officeDocument/2006/relationships/image" Target="../media/image17.sv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6.emf"/><Relationship Id="rId10" Type="http://schemas.openxmlformats.org/officeDocument/2006/relationships/image" Target="../media/image23.png"/><Relationship Id="rId4" Type="http://schemas.openxmlformats.org/officeDocument/2006/relationships/oleObject" Target="../embeddings/oleObject11.bin"/><Relationship Id="rId9" Type="http://schemas.openxmlformats.org/officeDocument/2006/relationships/image" Target="../media/image22.svg"/><Relationship Id="rId14"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11" Type="http://schemas.openxmlformats.org/officeDocument/2006/relationships/image" Target="../media/image29.svg"/><Relationship Id="rId5" Type="http://schemas.openxmlformats.org/officeDocument/2006/relationships/oleObject" Target="../embeddings/oleObject12.bin"/><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hyperlink" Target="https://github.com/camaraproject/rep_mai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pic>
        <p:nvPicPr>
          <p:cNvPr id="22" name="Grafik 21">
            <a:extLst>
              <a:ext uri="{FF2B5EF4-FFF2-40B4-BE49-F238E27FC236}">
                <a16:creationId xmlns:a16="http://schemas.microsoft.com/office/drawing/2014/main" id="{77237022-EE65-4386-BA08-1E346446B16E}"/>
              </a:ext>
            </a:extLst>
          </p:cNvPr>
          <p:cNvPicPr>
            <a:picLocks noChangeAspect="1"/>
          </p:cNvPicPr>
          <p:nvPr/>
        </p:nvPicPr>
        <p:blipFill>
          <a:blip r:embed="rId7"/>
          <a:stretch>
            <a:fillRect/>
          </a:stretch>
        </p:blipFill>
        <p:spPr>
          <a:xfrm>
            <a:off x="288462" y="4749950"/>
            <a:ext cx="5105651" cy="982947"/>
          </a:xfrm>
          <a:prstGeom prst="rect">
            <a:avLst/>
          </a:prstGeom>
        </p:spPr>
      </p:pic>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85268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820099" y="1355073"/>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665898" y="5381156"/>
            <a:ext cx="974994" cy="558407"/>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75871" y="4635573"/>
            <a:ext cx="642126" cy="652320"/>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80889" y="5235565"/>
            <a:ext cx="826382" cy="836221"/>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368296" y="1692057"/>
            <a:ext cx="773307" cy="784516"/>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2"/>
          <a:stretch>
            <a:fillRect/>
          </a:stretch>
        </p:blipFill>
        <p:spPr>
          <a:xfrm>
            <a:off x="5505443" y="3771363"/>
            <a:ext cx="1508894" cy="848752"/>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3"/>
          <a:stretch>
            <a:fillRect/>
          </a:stretch>
        </p:blipFill>
        <p:spPr>
          <a:xfrm>
            <a:off x="249546" y="3891204"/>
            <a:ext cx="1114155" cy="609071"/>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14"/>
          <a:stretch>
            <a:fillRect/>
          </a:stretch>
        </p:blipFill>
        <p:spPr>
          <a:xfrm>
            <a:off x="1537381" y="5547439"/>
            <a:ext cx="923898" cy="225841"/>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15"/>
          <a:stretch>
            <a:fillRect/>
          </a:stretch>
        </p:blipFill>
        <p:spPr>
          <a:xfrm>
            <a:off x="6097375" y="2486817"/>
            <a:ext cx="501757" cy="543261"/>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16"/>
          <a:stretch>
            <a:fillRect/>
          </a:stretch>
        </p:blipFill>
        <p:spPr>
          <a:xfrm>
            <a:off x="9514466" y="3884121"/>
            <a:ext cx="623237" cy="623237"/>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17"/>
          <a:stretch>
            <a:fillRect/>
          </a:stretch>
        </p:blipFill>
        <p:spPr>
          <a:xfrm>
            <a:off x="5758094" y="5381156"/>
            <a:ext cx="1696440" cy="558407"/>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18"/>
          <a:stretch>
            <a:fillRect/>
          </a:stretch>
        </p:blipFill>
        <p:spPr>
          <a:xfrm>
            <a:off x="6490780" y="2997844"/>
            <a:ext cx="1335480" cy="888970"/>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19"/>
          <a:stretch>
            <a:fillRect/>
          </a:stretch>
        </p:blipFill>
        <p:spPr>
          <a:xfrm>
            <a:off x="10226841" y="3057324"/>
            <a:ext cx="1155014" cy="770010"/>
          </a:xfrm>
          <a:prstGeom prst="rect">
            <a:avLst/>
          </a:prstGeom>
        </p:spPr>
      </p:pic>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0"/>
          <a:stretch>
            <a:fillRect/>
          </a:stretch>
        </p:blipFill>
        <p:spPr>
          <a:xfrm>
            <a:off x="4027517" y="5019584"/>
            <a:ext cx="2278311" cy="1281550"/>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21"/>
          <a:stretch>
            <a:fillRect/>
          </a:stretch>
        </p:blipFill>
        <p:spPr>
          <a:xfrm>
            <a:off x="109274" y="2372947"/>
            <a:ext cx="1901442" cy="771001"/>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22"/>
          <a:stretch>
            <a:fillRect/>
          </a:stretch>
        </p:blipFill>
        <p:spPr>
          <a:xfrm>
            <a:off x="7509404" y="5486531"/>
            <a:ext cx="1033684" cy="347657"/>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23"/>
          <a:stretch>
            <a:fillRect/>
          </a:stretch>
        </p:blipFill>
        <p:spPr>
          <a:xfrm>
            <a:off x="360846" y="3309292"/>
            <a:ext cx="1312871" cy="266075"/>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0088" t="22838" r="13692" b="27205"/>
          <a:stretch/>
        </p:blipFill>
        <p:spPr bwMode="auto">
          <a:xfrm>
            <a:off x="10267520" y="4048045"/>
            <a:ext cx="1076610" cy="295389"/>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25"/>
          <a:stretch>
            <a:fillRect/>
          </a:stretch>
        </p:blipFill>
        <p:spPr>
          <a:xfrm>
            <a:off x="6326057" y="4587838"/>
            <a:ext cx="747791" cy="747791"/>
          </a:xfrm>
          <a:prstGeom prst="rect">
            <a:avLst/>
          </a:prstGeom>
        </p:spPr>
      </p:pic>
      <p:pic>
        <p:nvPicPr>
          <p:cNvPr id="10" name="Grafik 9">
            <a:extLst>
              <a:ext uri="{FF2B5EF4-FFF2-40B4-BE49-F238E27FC236}">
                <a16:creationId xmlns:a16="http://schemas.microsoft.com/office/drawing/2014/main" id="{CA29AE2B-3A81-4E25-9A14-7D592817984B}"/>
              </a:ext>
            </a:extLst>
          </p:cNvPr>
          <p:cNvPicPr>
            <a:picLocks noChangeAspect="1"/>
          </p:cNvPicPr>
          <p:nvPr/>
        </p:nvPicPr>
        <p:blipFill>
          <a:blip r:embed="rId26"/>
          <a:stretch>
            <a:fillRect/>
          </a:stretch>
        </p:blipFill>
        <p:spPr>
          <a:xfrm>
            <a:off x="9477158" y="3305117"/>
            <a:ext cx="676479" cy="274425"/>
          </a:xfrm>
          <a:prstGeom prst="rect">
            <a:avLst/>
          </a:prstGeom>
        </p:spPr>
      </p:pic>
      <p:pic>
        <p:nvPicPr>
          <p:cNvPr id="12" name="Grafik 11">
            <a:extLst>
              <a:ext uri="{FF2B5EF4-FFF2-40B4-BE49-F238E27FC236}">
                <a16:creationId xmlns:a16="http://schemas.microsoft.com/office/drawing/2014/main" id="{08C621FC-DC50-4B73-A9EB-23E1EA12C64D}"/>
              </a:ext>
            </a:extLst>
          </p:cNvPr>
          <p:cNvPicPr>
            <a:picLocks noChangeAspect="1"/>
          </p:cNvPicPr>
          <p:nvPr/>
        </p:nvPicPr>
        <p:blipFill>
          <a:blip r:embed="rId27"/>
          <a:stretch>
            <a:fillRect/>
          </a:stretch>
        </p:blipFill>
        <p:spPr>
          <a:xfrm>
            <a:off x="2455844" y="3331307"/>
            <a:ext cx="1253897" cy="222044"/>
          </a:xfrm>
          <a:prstGeom prst="rect">
            <a:avLst/>
          </a:prstGeom>
        </p:spPr>
      </p:pic>
      <p:pic>
        <p:nvPicPr>
          <p:cNvPr id="33" name="Grafik 32">
            <a:extLst>
              <a:ext uri="{FF2B5EF4-FFF2-40B4-BE49-F238E27FC236}">
                <a16:creationId xmlns:a16="http://schemas.microsoft.com/office/drawing/2014/main" id="{2AF8F179-2BBF-4CC0-8BD8-BD7CC7162137}"/>
              </a:ext>
            </a:extLst>
          </p:cNvPr>
          <p:cNvPicPr>
            <a:picLocks noChangeAspect="1"/>
          </p:cNvPicPr>
          <p:nvPr/>
        </p:nvPicPr>
        <p:blipFill>
          <a:blip r:embed="rId28"/>
          <a:stretch>
            <a:fillRect/>
          </a:stretch>
        </p:blipFill>
        <p:spPr>
          <a:xfrm>
            <a:off x="1668055" y="4800624"/>
            <a:ext cx="1384115" cy="32221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353AFCB8-FB38-4AAE-939F-016AB8747C08}"/>
              </a:ext>
            </a:extLst>
          </p:cNvPr>
          <p:cNvPicPr>
            <a:picLocks noChangeAspect="1"/>
          </p:cNvPicPr>
          <p:nvPr/>
        </p:nvPicPr>
        <p:blipFill>
          <a:blip r:embed="rId29"/>
          <a:stretch>
            <a:fillRect/>
          </a:stretch>
        </p:blipFill>
        <p:spPr>
          <a:xfrm>
            <a:off x="3917919" y="3942684"/>
            <a:ext cx="1457710" cy="506111"/>
          </a:xfrm>
          <a:prstGeom prst="rect">
            <a:avLst/>
          </a:prstGeom>
        </p:spPr>
      </p:pic>
      <p:pic>
        <p:nvPicPr>
          <p:cNvPr id="36" name="Grafik 35">
            <a:extLst>
              <a:ext uri="{FF2B5EF4-FFF2-40B4-BE49-F238E27FC236}">
                <a16:creationId xmlns:a16="http://schemas.microsoft.com/office/drawing/2014/main" id="{E43EAA71-6EA0-43FE-8AEC-8F75706271CC}"/>
              </a:ext>
            </a:extLst>
          </p:cNvPr>
          <p:cNvPicPr>
            <a:picLocks noChangeAspect="1"/>
          </p:cNvPicPr>
          <p:nvPr/>
        </p:nvPicPr>
        <p:blipFill>
          <a:blip r:embed="rId30"/>
          <a:stretch>
            <a:fillRect/>
          </a:stretch>
        </p:blipFill>
        <p:spPr>
          <a:xfrm>
            <a:off x="3185912" y="1951233"/>
            <a:ext cx="1220630" cy="266165"/>
          </a:xfrm>
          <a:prstGeom prst="rect">
            <a:avLst/>
          </a:prstGeom>
        </p:spPr>
      </p:pic>
      <p:pic>
        <p:nvPicPr>
          <p:cNvPr id="37" name="Grafik 36">
            <a:extLst>
              <a:ext uri="{FF2B5EF4-FFF2-40B4-BE49-F238E27FC236}">
                <a16:creationId xmlns:a16="http://schemas.microsoft.com/office/drawing/2014/main" id="{654B3E70-B34C-4110-8AA0-5D832134C0C5}"/>
              </a:ext>
            </a:extLst>
          </p:cNvPr>
          <p:cNvPicPr>
            <a:picLocks noChangeAspect="1"/>
          </p:cNvPicPr>
          <p:nvPr/>
        </p:nvPicPr>
        <p:blipFill>
          <a:blip r:embed="rId31"/>
          <a:stretch>
            <a:fillRect/>
          </a:stretch>
        </p:blipFill>
        <p:spPr>
          <a:xfrm>
            <a:off x="360862" y="1951849"/>
            <a:ext cx="876888" cy="264932"/>
          </a:xfrm>
          <a:prstGeom prst="rect">
            <a:avLst/>
          </a:prstGeom>
        </p:spPr>
      </p:pic>
      <p:pic>
        <p:nvPicPr>
          <p:cNvPr id="9" name="Grafik 8" descr="Ein Bild, das Text enthält.&#10;&#10;Automatisch generierte Beschreibung">
            <a:extLst>
              <a:ext uri="{FF2B5EF4-FFF2-40B4-BE49-F238E27FC236}">
                <a16:creationId xmlns:a16="http://schemas.microsoft.com/office/drawing/2014/main" id="{5BCA16A2-D997-4798-9DA5-F79048E137FE}"/>
              </a:ext>
            </a:extLst>
          </p:cNvPr>
          <p:cNvPicPr>
            <a:picLocks noChangeAspect="1"/>
          </p:cNvPicPr>
          <p:nvPr/>
        </p:nvPicPr>
        <p:blipFill>
          <a:blip r:embed="rId32"/>
          <a:stretch>
            <a:fillRect/>
          </a:stretch>
        </p:blipFill>
        <p:spPr>
          <a:xfrm>
            <a:off x="7144151" y="3607050"/>
            <a:ext cx="1177379" cy="1177379"/>
          </a:xfrm>
          <a:prstGeom prst="rect">
            <a:avLst/>
          </a:prstGeom>
        </p:spPr>
      </p:pic>
      <p:pic>
        <p:nvPicPr>
          <p:cNvPr id="14" name="Grafik 13">
            <a:extLst>
              <a:ext uri="{FF2B5EF4-FFF2-40B4-BE49-F238E27FC236}">
                <a16:creationId xmlns:a16="http://schemas.microsoft.com/office/drawing/2014/main" id="{DB9D9B4D-E3DA-446C-B06D-A04F656AD7FE}"/>
              </a:ext>
            </a:extLst>
          </p:cNvPr>
          <p:cNvPicPr>
            <a:picLocks noChangeAspect="1"/>
          </p:cNvPicPr>
          <p:nvPr/>
        </p:nvPicPr>
        <p:blipFill>
          <a:blip r:embed="rId33"/>
          <a:stretch>
            <a:fillRect/>
          </a:stretch>
        </p:blipFill>
        <p:spPr>
          <a:xfrm>
            <a:off x="8614661" y="1787900"/>
            <a:ext cx="1467639" cy="592831"/>
          </a:xfrm>
          <a:prstGeom prst="rect">
            <a:avLst/>
          </a:prstGeom>
        </p:spPr>
      </p:pic>
      <p:pic>
        <p:nvPicPr>
          <p:cNvPr id="38" name="Grafik 37">
            <a:extLst>
              <a:ext uri="{FF2B5EF4-FFF2-40B4-BE49-F238E27FC236}">
                <a16:creationId xmlns:a16="http://schemas.microsoft.com/office/drawing/2014/main" id="{CC50274A-9DC8-4873-A5BF-2546543700B3}"/>
              </a:ext>
            </a:extLst>
          </p:cNvPr>
          <p:cNvPicPr>
            <a:picLocks noChangeAspect="1"/>
          </p:cNvPicPr>
          <p:nvPr/>
        </p:nvPicPr>
        <p:blipFill>
          <a:blip r:embed="rId34"/>
          <a:stretch>
            <a:fillRect/>
          </a:stretch>
        </p:blipFill>
        <p:spPr>
          <a:xfrm>
            <a:off x="1256654" y="1706115"/>
            <a:ext cx="756400" cy="756400"/>
          </a:xfrm>
          <a:prstGeom prst="rect">
            <a:avLst/>
          </a:prstGeom>
        </p:spPr>
      </p:pic>
      <p:pic>
        <p:nvPicPr>
          <p:cNvPr id="39" name="Grafik 38" descr="Ein Bild, das Text enthält.&#10;&#10;Automatisch generierte Beschreibung">
            <a:extLst>
              <a:ext uri="{FF2B5EF4-FFF2-40B4-BE49-F238E27FC236}">
                <a16:creationId xmlns:a16="http://schemas.microsoft.com/office/drawing/2014/main" id="{6C1ADF0C-2306-45E4-86B8-CC54467F1CF9}"/>
              </a:ext>
            </a:extLst>
          </p:cNvPr>
          <p:cNvPicPr>
            <a:picLocks noChangeAspect="1"/>
          </p:cNvPicPr>
          <p:nvPr/>
        </p:nvPicPr>
        <p:blipFill>
          <a:blip r:embed="rId35"/>
          <a:stretch>
            <a:fillRect/>
          </a:stretch>
        </p:blipFill>
        <p:spPr>
          <a:xfrm>
            <a:off x="8273748" y="4682530"/>
            <a:ext cx="1289517" cy="558407"/>
          </a:xfrm>
          <a:prstGeom prst="rect">
            <a:avLst/>
          </a:prstGeom>
        </p:spPr>
      </p:pic>
      <p:pic>
        <p:nvPicPr>
          <p:cNvPr id="40" name="Grafik 39" descr="Ein Bild, das Text enthält.&#10;&#10;Automatisch generierte Beschreibung">
            <a:extLst>
              <a:ext uri="{FF2B5EF4-FFF2-40B4-BE49-F238E27FC236}">
                <a16:creationId xmlns:a16="http://schemas.microsoft.com/office/drawing/2014/main" id="{90595A52-DE01-492E-B229-E2F38411C4D2}"/>
              </a:ext>
            </a:extLst>
          </p:cNvPr>
          <p:cNvPicPr>
            <a:picLocks noChangeAspect="1"/>
          </p:cNvPicPr>
          <p:nvPr/>
        </p:nvPicPr>
        <p:blipFill>
          <a:blip r:embed="rId36"/>
          <a:stretch>
            <a:fillRect/>
          </a:stretch>
        </p:blipFill>
        <p:spPr>
          <a:xfrm>
            <a:off x="8451344" y="4024514"/>
            <a:ext cx="933308" cy="342451"/>
          </a:xfrm>
          <a:prstGeom prst="rect">
            <a:avLst/>
          </a:prstGeom>
        </p:spPr>
      </p:pic>
      <p:pic>
        <p:nvPicPr>
          <p:cNvPr id="41" name="Grafik 40">
            <a:extLst>
              <a:ext uri="{FF2B5EF4-FFF2-40B4-BE49-F238E27FC236}">
                <a16:creationId xmlns:a16="http://schemas.microsoft.com/office/drawing/2014/main" id="{1E6DFB7C-413E-4DF7-B981-91502D8AA15E}"/>
              </a:ext>
            </a:extLst>
          </p:cNvPr>
          <p:cNvPicPr>
            <a:picLocks noChangeAspect="1"/>
          </p:cNvPicPr>
          <p:nvPr/>
        </p:nvPicPr>
        <p:blipFill>
          <a:blip r:embed="rId37"/>
          <a:stretch>
            <a:fillRect/>
          </a:stretch>
        </p:blipFill>
        <p:spPr>
          <a:xfrm>
            <a:off x="10486209" y="5445326"/>
            <a:ext cx="845303" cy="430067"/>
          </a:xfrm>
          <a:prstGeom prst="rect">
            <a:avLst/>
          </a:prstGeom>
        </p:spPr>
      </p:pic>
      <p:pic>
        <p:nvPicPr>
          <p:cNvPr id="42" name="Grafik 41">
            <a:extLst>
              <a:ext uri="{FF2B5EF4-FFF2-40B4-BE49-F238E27FC236}">
                <a16:creationId xmlns:a16="http://schemas.microsoft.com/office/drawing/2014/main" id="{E0D09212-E342-4915-9642-4F5303BD8807}"/>
              </a:ext>
            </a:extLst>
          </p:cNvPr>
          <p:cNvPicPr>
            <a:picLocks noChangeAspect="1"/>
          </p:cNvPicPr>
          <p:nvPr/>
        </p:nvPicPr>
        <p:blipFill>
          <a:blip r:embed="rId38"/>
          <a:stretch>
            <a:fillRect/>
          </a:stretch>
        </p:blipFill>
        <p:spPr>
          <a:xfrm>
            <a:off x="4907715" y="2665261"/>
            <a:ext cx="1068154" cy="186372"/>
          </a:xfrm>
          <a:prstGeom prst="rect">
            <a:avLst/>
          </a:prstGeom>
        </p:spPr>
      </p:pic>
      <p:pic>
        <p:nvPicPr>
          <p:cNvPr id="35" name="Grafik 34" descr="Ein Bild, das Text enthält.&#10;&#10;Automatisch generierte Beschreibung">
            <a:extLst>
              <a:ext uri="{FF2B5EF4-FFF2-40B4-BE49-F238E27FC236}">
                <a16:creationId xmlns:a16="http://schemas.microsoft.com/office/drawing/2014/main" id="{DA725A87-73F0-42D8-ABE3-59F5A5FF5549}"/>
              </a:ext>
            </a:extLst>
          </p:cNvPr>
          <p:cNvPicPr>
            <a:picLocks noChangeAspect="1"/>
          </p:cNvPicPr>
          <p:nvPr/>
        </p:nvPicPr>
        <p:blipFill>
          <a:blip r:embed="rId39"/>
          <a:stretch>
            <a:fillRect/>
          </a:stretch>
        </p:blipFill>
        <p:spPr>
          <a:xfrm>
            <a:off x="2031958" y="1942227"/>
            <a:ext cx="1077900" cy="284176"/>
          </a:xfrm>
          <a:prstGeom prst="rect">
            <a:avLst/>
          </a:prstGeom>
        </p:spPr>
      </p:pic>
      <p:pic>
        <p:nvPicPr>
          <p:cNvPr id="11" name="Grafik 10">
            <a:extLst>
              <a:ext uri="{FF2B5EF4-FFF2-40B4-BE49-F238E27FC236}">
                <a16:creationId xmlns:a16="http://schemas.microsoft.com/office/drawing/2014/main" id="{897567D8-9C10-40E0-847D-E55A4C90178D}"/>
              </a:ext>
            </a:extLst>
          </p:cNvPr>
          <p:cNvPicPr>
            <a:picLocks noChangeAspect="1"/>
          </p:cNvPicPr>
          <p:nvPr/>
        </p:nvPicPr>
        <p:blipFill>
          <a:blip r:embed="rId40"/>
          <a:stretch>
            <a:fillRect/>
          </a:stretch>
        </p:blipFill>
        <p:spPr>
          <a:xfrm>
            <a:off x="10287725" y="2529308"/>
            <a:ext cx="1024065" cy="458279"/>
          </a:xfrm>
          <a:prstGeom prst="rect">
            <a:avLst/>
          </a:prstGeom>
        </p:spPr>
      </p:pic>
      <p:pic>
        <p:nvPicPr>
          <p:cNvPr id="15" name="Grafik 14" descr="Ein Bild, das Text, ClipArt enthält.&#10;&#10;Automatisch generierte Beschreibung">
            <a:extLst>
              <a:ext uri="{FF2B5EF4-FFF2-40B4-BE49-F238E27FC236}">
                <a16:creationId xmlns:a16="http://schemas.microsoft.com/office/drawing/2014/main" id="{C96A23AD-90E9-4DB1-9250-AF41B60BA2A4}"/>
              </a:ext>
            </a:extLst>
          </p:cNvPr>
          <p:cNvPicPr>
            <a:picLocks noChangeAspect="1"/>
          </p:cNvPicPr>
          <p:nvPr/>
        </p:nvPicPr>
        <p:blipFill>
          <a:blip r:embed="rId41"/>
          <a:stretch>
            <a:fillRect/>
          </a:stretch>
        </p:blipFill>
        <p:spPr>
          <a:xfrm>
            <a:off x="3906769" y="3351279"/>
            <a:ext cx="1165217" cy="182100"/>
          </a:xfrm>
          <a:prstGeom prst="rect">
            <a:avLst/>
          </a:prstGeom>
        </p:spPr>
      </p:pic>
      <p:pic>
        <p:nvPicPr>
          <p:cNvPr id="13" name="Grafik 12">
            <a:extLst>
              <a:ext uri="{FF2B5EF4-FFF2-40B4-BE49-F238E27FC236}">
                <a16:creationId xmlns:a16="http://schemas.microsoft.com/office/drawing/2014/main" id="{F18E428A-ABE5-4B32-ABDA-DC640A561A52}"/>
              </a:ext>
            </a:extLst>
          </p:cNvPr>
          <p:cNvPicPr>
            <a:picLocks noChangeAspect="1"/>
          </p:cNvPicPr>
          <p:nvPr/>
        </p:nvPicPr>
        <p:blipFill>
          <a:blip r:embed="rId42"/>
          <a:stretch>
            <a:fillRect/>
          </a:stretch>
        </p:blipFill>
        <p:spPr>
          <a:xfrm>
            <a:off x="7728013" y="3169414"/>
            <a:ext cx="606343" cy="545830"/>
          </a:xfrm>
          <a:prstGeom prst="rect">
            <a:avLst/>
          </a:prstGeom>
        </p:spPr>
      </p:pic>
      <p:pic>
        <p:nvPicPr>
          <p:cNvPr id="18" name="Grafik 17">
            <a:extLst>
              <a:ext uri="{FF2B5EF4-FFF2-40B4-BE49-F238E27FC236}">
                <a16:creationId xmlns:a16="http://schemas.microsoft.com/office/drawing/2014/main" id="{533F0E4B-8356-4717-B86E-E2CAFD497C7E}"/>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7906749" y="2686741"/>
            <a:ext cx="1147302" cy="143413"/>
          </a:xfrm>
          <a:prstGeom prst="rect">
            <a:avLst/>
          </a:prstGeom>
        </p:spPr>
      </p:pic>
      <p:pic>
        <p:nvPicPr>
          <p:cNvPr id="16" name="Grafik 15">
            <a:extLst>
              <a:ext uri="{FF2B5EF4-FFF2-40B4-BE49-F238E27FC236}">
                <a16:creationId xmlns:a16="http://schemas.microsoft.com/office/drawing/2014/main" id="{D6F9E4A6-FAAC-46A0-88AE-C021020BEBB4}"/>
              </a:ext>
            </a:extLst>
          </p:cNvPr>
          <p:cNvPicPr>
            <a:picLocks noChangeAspect="1"/>
          </p:cNvPicPr>
          <p:nvPr/>
        </p:nvPicPr>
        <p:blipFill>
          <a:blip r:embed="rId45"/>
          <a:stretch>
            <a:fillRect/>
          </a:stretch>
        </p:blipFill>
        <p:spPr>
          <a:xfrm>
            <a:off x="10101202" y="1999284"/>
            <a:ext cx="1126661" cy="170062"/>
          </a:xfrm>
          <a:prstGeom prst="rect">
            <a:avLst/>
          </a:prstGeom>
        </p:spPr>
      </p:pic>
      <p:pic>
        <p:nvPicPr>
          <p:cNvPr id="44" name="Grafik 43">
            <a:extLst>
              <a:ext uri="{FF2B5EF4-FFF2-40B4-BE49-F238E27FC236}">
                <a16:creationId xmlns:a16="http://schemas.microsoft.com/office/drawing/2014/main" id="{16E86257-314D-4920-82F7-BBBC99866F0F}"/>
              </a:ext>
            </a:extLst>
          </p:cNvPr>
          <p:cNvPicPr>
            <a:picLocks noChangeAspect="1"/>
          </p:cNvPicPr>
          <p:nvPr/>
        </p:nvPicPr>
        <p:blipFill>
          <a:blip r:embed="rId46"/>
          <a:stretch>
            <a:fillRect/>
          </a:stretch>
        </p:blipFill>
        <p:spPr>
          <a:xfrm>
            <a:off x="7211883" y="1867783"/>
            <a:ext cx="1460074" cy="433064"/>
          </a:xfrm>
          <a:prstGeom prst="rect">
            <a:avLst/>
          </a:prstGeom>
        </p:spPr>
      </p:pic>
      <p:pic>
        <p:nvPicPr>
          <p:cNvPr id="19" name="Grafik 18">
            <a:extLst>
              <a:ext uri="{FF2B5EF4-FFF2-40B4-BE49-F238E27FC236}">
                <a16:creationId xmlns:a16="http://schemas.microsoft.com/office/drawing/2014/main" id="{33E5CB1F-A0D7-4FBB-A060-9587B6427AD4}"/>
              </a:ext>
            </a:extLst>
          </p:cNvPr>
          <p:cNvPicPr>
            <a:picLocks noChangeAspect="1"/>
          </p:cNvPicPr>
          <p:nvPr/>
        </p:nvPicPr>
        <p:blipFill>
          <a:blip r:embed="rId47"/>
          <a:stretch>
            <a:fillRect/>
          </a:stretch>
        </p:blipFill>
        <p:spPr>
          <a:xfrm>
            <a:off x="1493515" y="4035200"/>
            <a:ext cx="1040811" cy="321078"/>
          </a:xfrm>
          <a:prstGeom prst="rect">
            <a:avLst/>
          </a:prstGeom>
        </p:spPr>
      </p:pic>
      <p:pic>
        <p:nvPicPr>
          <p:cNvPr id="45" name="Grafik 44">
            <a:extLst>
              <a:ext uri="{FF2B5EF4-FFF2-40B4-BE49-F238E27FC236}">
                <a16:creationId xmlns:a16="http://schemas.microsoft.com/office/drawing/2014/main" id="{6B8359F1-CE88-4EDC-BB9F-113872039F17}"/>
              </a:ext>
            </a:extLst>
          </p:cNvPr>
          <p:cNvPicPr>
            <a:picLocks noChangeAspect="1"/>
          </p:cNvPicPr>
          <p:nvPr/>
        </p:nvPicPr>
        <p:blipFill>
          <a:blip r:embed="rId48"/>
          <a:stretch>
            <a:fillRect/>
          </a:stretch>
        </p:blipFill>
        <p:spPr>
          <a:xfrm>
            <a:off x="5160507" y="1815422"/>
            <a:ext cx="897557" cy="537786"/>
          </a:xfrm>
          <a:prstGeom prst="rect">
            <a:avLst/>
          </a:prstGeom>
        </p:spPr>
      </p:pic>
      <p:pic>
        <p:nvPicPr>
          <p:cNvPr id="47" name="Grafik 46" descr="Ein Bild, das Text, Geschirr, Teller enthält.&#10;&#10;Automatisch generierte Beschreibung">
            <a:extLst>
              <a:ext uri="{FF2B5EF4-FFF2-40B4-BE49-F238E27FC236}">
                <a16:creationId xmlns:a16="http://schemas.microsoft.com/office/drawing/2014/main" id="{1985FDDE-FA31-4757-AA8E-5E029B38B0B9}"/>
              </a:ext>
            </a:extLst>
          </p:cNvPr>
          <p:cNvPicPr>
            <a:picLocks noChangeAspect="1"/>
          </p:cNvPicPr>
          <p:nvPr/>
        </p:nvPicPr>
        <p:blipFill>
          <a:blip r:embed="rId49"/>
          <a:stretch>
            <a:fillRect/>
          </a:stretch>
        </p:blipFill>
        <p:spPr>
          <a:xfrm>
            <a:off x="2873697" y="2532323"/>
            <a:ext cx="858426" cy="452248"/>
          </a:xfrm>
          <a:prstGeom prst="rect">
            <a:avLst/>
          </a:prstGeom>
        </p:spPr>
      </p:pic>
      <p:pic>
        <p:nvPicPr>
          <p:cNvPr id="51" name="Grafik 50">
            <a:extLst>
              <a:ext uri="{FF2B5EF4-FFF2-40B4-BE49-F238E27FC236}">
                <a16:creationId xmlns:a16="http://schemas.microsoft.com/office/drawing/2014/main" id="{587B8177-19AE-464D-82C8-821F39C98A50}"/>
              </a:ext>
            </a:extLst>
          </p:cNvPr>
          <p:cNvPicPr>
            <a:picLocks noChangeAspect="1"/>
          </p:cNvPicPr>
          <p:nvPr/>
        </p:nvPicPr>
        <p:blipFill>
          <a:blip r:embed="rId50"/>
          <a:stretch>
            <a:fillRect/>
          </a:stretch>
        </p:blipFill>
        <p:spPr>
          <a:xfrm>
            <a:off x="3853629" y="2292157"/>
            <a:ext cx="932580" cy="932580"/>
          </a:xfrm>
          <a:prstGeom prst="rect">
            <a:avLst/>
          </a:prstGeom>
        </p:spPr>
      </p:pic>
      <p:pic>
        <p:nvPicPr>
          <p:cNvPr id="55" name="Grafik 54">
            <a:extLst>
              <a:ext uri="{FF2B5EF4-FFF2-40B4-BE49-F238E27FC236}">
                <a16:creationId xmlns:a16="http://schemas.microsoft.com/office/drawing/2014/main" id="{14B4B932-C901-4C41-A6AC-6BA5060A96E3}"/>
              </a:ext>
            </a:extLst>
          </p:cNvPr>
          <p:cNvPicPr>
            <a:picLocks noChangeAspect="1"/>
          </p:cNvPicPr>
          <p:nvPr/>
        </p:nvPicPr>
        <p:blipFill>
          <a:blip r:embed="rId51"/>
          <a:stretch>
            <a:fillRect/>
          </a:stretch>
        </p:blipFill>
        <p:spPr>
          <a:xfrm>
            <a:off x="9175557" y="2638732"/>
            <a:ext cx="990658" cy="239430"/>
          </a:xfrm>
          <a:prstGeom prst="rect">
            <a:avLst/>
          </a:prstGeom>
        </p:spPr>
      </p:pic>
      <p:grpSp>
        <p:nvGrpSpPr>
          <p:cNvPr id="60" name="组合 55">
            <a:extLst>
              <a:ext uri="{FF2B5EF4-FFF2-40B4-BE49-F238E27FC236}">
                <a16:creationId xmlns:a16="http://schemas.microsoft.com/office/drawing/2014/main" id="{00EC4C0A-EE36-44F7-99FD-A240AC736392}"/>
              </a:ext>
            </a:extLst>
          </p:cNvPr>
          <p:cNvGrpSpPr>
            <a:grpSpLocks noChangeAspect="1"/>
          </p:cNvGrpSpPr>
          <p:nvPr/>
        </p:nvGrpSpPr>
        <p:grpSpPr>
          <a:xfrm>
            <a:off x="5269014" y="3304595"/>
            <a:ext cx="1224763" cy="275468"/>
            <a:chOff x="720033" y="1467682"/>
            <a:chExt cx="4056154" cy="912291"/>
          </a:xfrm>
        </p:grpSpPr>
        <p:grpSp>
          <p:nvGrpSpPr>
            <p:cNvPr id="61" name="组合 38">
              <a:extLst>
                <a:ext uri="{FF2B5EF4-FFF2-40B4-BE49-F238E27FC236}">
                  <a16:creationId xmlns:a16="http://schemas.microsoft.com/office/drawing/2014/main" id="{C1B3ED4A-ECF9-4E2A-B2EB-52549163B560}"/>
                </a:ext>
              </a:extLst>
            </p:cNvPr>
            <p:cNvGrpSpPr>
              <a:grpSpLocks noChangeAspect="1"/>
            </p:cNvGrpSpPr>
            <p:nvPr/>
          </p:nvGrpSpPr>
          <p:grpSpPr>
            <a:xfrm>
              <a:off x="2130398" y="1759008"/>
              <a:ext cx="2645789" cy="451808"/>
              <a:chOff x="4003676" y="2249488"/>
              <a:chExt cx="5810250" cy="992187"/>
            </a:xfrm>
          </p:grpSpPr>
          <p:sp>
            <p:nvSpPr>
              <p:cNvPr id="63" name="Freeform 25">
                <a:extLst>
                  <a:ext uri="{FF2B5EF4-FFF2-40B4-BE49-F238E27FC236}">
                    <a16:creationId xmlns:a16="http://schemas.microsoft.com/office/drawing/2014/main" id="{DA5C78F0-895E-4F84-8FFD-CF80CD6E2FD3}"/>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Freeform 26">
                <a:extLst>
                  <a:ext uri="{FF2B5EF4-FFF2-40B4-BE49-F238E27FC236}">
                    <a16:creationId xmlns:a16="http://schemas.microsoft.com/office/drawing/2014/main" id="{D9EC907D-1B33-4748-9CFF-6DDFF68DCD38}"/>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Freeform 27">
                <a:extLst>
                  <a:ext uri="{FF2B5EF4-FFF2-40B4-BE49-F238E27FC236}">
                    <a16:creationId xmlns:a16="http://schemas.microsoft.com/office/drawing/2014/main" id="{44A8E926-2BFE-45A7-80F6-D215E10A7EA1}"/>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Freeform 28">
                <a:extLst>
                  <a:ext uri="{FF2B5EF4-FFF2-40B4-BE49-F238E27FC236}">
                    <a16:creationId xmlns:a16="http://schemas.microsoft.com/office/drawing/2014/main" id="{806402C4-7BB7-4FF4-910D-21DDB0FB53E3}"/>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Rectangle 29">
                <a:extLst>
                  <a:ext uri="{FF2B5EF4-FFF2-40B4-BE49-F238E27FC236}">
                    <a16:creationId xmlns:a16="http://schemas.microsoft.com/office/drawing/2014/main" id="{1523F52D-B60A-4AB7-B9B3-AC61F510FEE6}"/>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8" name="Freeform 30">
                <a:extLst>
                  <a:ext uri="{FF2B5EF4-FFF2-40B4-BE49-F238E27FC236}">
                    <a16:creationId xmlns:a16="http://schemas.microsoft.com/office/drawing/2014/main" id="{7F7E92C1-9E84-4835-B595-53FB24AB1285}"/>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62" name="Freeform 31">
              <a:extLst>
                <a:ext uri="{FF2B5EF4-FFF2-40B4-BE49-F238E27FC236}">
                  <a16:creationId xmlns:a16="http://schemas.microsoft.com/office/drawing/2014/main" id="{928FF1C1-0854-4A58-95D2-B9FAA2825CCF}"/>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57" name="Grafik 56">
            <a:extLst>
              <a:ext uri="{FF2B5EF4-FFF2-40B4-BE49-F238E27FC236}">
                <a16:creationId xmlns:a16="http://schemas.microsoft.com/office/drawing/2014/main" id="{5CFEEC0C-3BB8-4FE9-ABB0-8F95ABC83AD8}"/>
              </a:ext>
            </a:extLst>
          </p:cNvPr>
          <p:cNvPicPr>
            <a:picLocks noChangeAspect="1"/>
          </p:cNvPicPr>
          <p:nvPr/>
        </p:nvPicPr>
        <p:blipFill>
          <a:blip r:embed="rId52"/>
          <a:stretch>
            <a:fillRect/>
          </a:stretch>
        </p:blipFill>
        <p:spPr>
          <a:xfrm>
            <a:off x="2664140" y="3960672"/>
            <a:ext cx="1123965" cy="470135"/>
          </a:xfrm>
          <a:prstGeom prst="rect">
            <a:avLst/>
          </a:prstGeom>
        </p:spPr>
      </p:pic>
      <p:pic>
        <p:nvPicPr>
          <p:cNvPr id="59" name="Grafik 58">
            <a:extLst>
              <a:ext uri="{FF2B5EF4-FFF2-40B4-BE49-F238E27FC236}">
                <a16:creationId xmlns:a16="http://schemas.microsoft.com/office/drawing/2014/main" id="{6E96CCB7-996E-4505-BF69-A7BDFBCBBF41}"/>
              </a:ext>
            </a:extLst>
          </p:cNvPr>
          <p:cNvPicPr>
            <a:picLocks noChangeAspect="1"/>
          </p:cNvPicPr>
          <p:nvPr/>
        </p:nvPicPr>
        <p:blipFill>
          <a:blip r:embed="rId53"/>
          <a:stretch>
            <a:fillRect/>
          </a:stretch>
        </p:blipFill>
        <p:spPr>
          <a:xfrm>
            <a:off x="9485615" y="4563944"/>
            <a:ext cx="1264162" cy="795579"/>
          </a:xfrm>
          <a:prstGeom prst="rect">
            <a:avLst/>
          </a:prstGeom>
        </p:spPr>
      </p:pic>
      <p:pic>
        <p:nvPicPr>
          <p:cNvPr id="70" name="Grafik 69">
            <a:extLst>
              <a:ext uri="{FF2B5EF4-FFF2-40B4-BE49-F238E27FC236}">
                <a16:creationId xmlns:a16="http://schemas.microsoft.com/office/drawing/2014/main" id="{9D773627-D10F-4720-83FC-DEB9C562F7BF}"/>
              </a:ext>
            </a:extLst>
          </p:cNvPr>
          <p:cNvPicPr>
            <a:picLocks noChangeAspect="1"/>
          </p:cNvPicPr>
          <p:nvPr/>
        </p:nvPicPr>
        <p:blipFill>
          <a:blip r:embed="rId54"/>
          <a:stretch>
            <a:fillRect/>
          </a:stretch>
        </p:blipFill>
        <p:spPr>
          <a:xfrm>
            <a:off x="8617008" y="5436641"/>
            <a:ext cx="1203570" cy="447436"/>
          </a:xfrm>
          <a:prstGeom prst="rect">
            <a:avLst/>
          </a:prstGeom>
        </p:spPr>
      </p:pic>
      <p:pic>
        <p:nvPicPr>
          <p:cNvPr id="21" name="Grafik 20" descr="Ein Bild, das Text enthält.&#10;&#10;Automatisch generierte Beschreibung">
            <a:extLst>
              <a:ext uri="{FF2B5EF4-FFF2-40B4-BE49-F238E27FC236}">
                <a16:creationId xmlns:a16="http://schemas.microsoft.com/office/drawing/2014/main" id="{F5306238-96F3-48DA-9A19-08D65CE18F3B}"/>
              </a:ext>
            </a:extLst>
          </p:cNvPr>
          <p:cNvPicPr>
            <a:picLocks noChangeAspect="1"/>
          </p:cNvPicPr>
          <p:nvPr/>
        </p:nvPicPr>
        <p:blipFill>
          <a:blip r:embed="rId55"/>
          <a:stretch>
            <a:fillRect/>
          </a:stretch>
        </p:blipFill>
        <p:spPr>
          <a:xfrm>
            <a:off x="6143643" y="1898882"/>
            <a:ext cx="1039811" cy="370866"/>
          </a:xfrm>
          <a:prstGeom prst="rect">
            <a:avLst/>
          </a:prstGeom>
        </p:spPr>
      </p:pic>
      <p:pic>
        <p:nvPicPr>
          <p:cNvPr id="43" name="Grafik 42">
            <a:extLst>
              <a:ext uri="{FF2B5EF4-FFF2-40B4-BE49-F238E27FC236}">
                <a16:creationId xmlns:a16="http://schemas.microsoft.com/office/drawing/2014/main" id="{6DE44662-63C3-4B04-8D0E-966D90723706}"/>
              </a:ext>
            </a:extLst>
          </p:cNvPr>
          <p:cNvPicPr>
            <a:picLocks noChangeAspect="1"/>
          </p:cNvPicPr>
          <p:nvPr/>
        </p:nvPicPr>
        <p:blipFill>
          <a:blip r:embed="rId56"/>
          <a:stretch>
            <a:fillRect/>
          </a:stretch>
        </p:blipFill>
        <p:spPr>
          <a:xfrm>
            <a:off x="2027447" y="2557346"/>
            <a:ext cx="619969" cy="402202"/>
          </a:xfrm>
          <a:prstGeom prst="rect">
            <a:avLst/>
          </a:prstGeom>
        </p:spPr>
      </p:pic>
      <p:pic>
        <p:nvPicPr>
          <p:cNvPr id="48" name="Grafik 47">
            <a:extLst>
              <a:ext uri="{FF2B5EF4-FFF2-40B4-BE49-F238E27FC236}">
                <a16:creationId xmlns:a16="http://schemas.microsoft.com/office/drawing/2014/main" id="{D3D8C522-4EBB-4CEF-A07E-CCAC655EAC65}"/>
              </a:ext>
            </a:extLst>
          </p:cNvPr>
          <p:cNvPicPr>
            <a:picLocks noChangeAspect="1"/>
          </p:cNvPicPr>
          <p:nvPr/>
        </p:nvPicPr>
        <p:blipFill>
          <a:blip r:embed="rId57"/>
          <a:stretch>
            <a:fillRect/>
          </a:stretch>
        </p:blipFill>
        <p:spPr>
          <a:xfrm>
            <a:off x="6720638" y="2580431"/>
            <a:ext cx="1064605" cy="356032"/>
          </a:xfrm>
          <a:prstGeom prst="rect">
            <a:avLst/>
          </a:prstGeom>
        </p:spPr>
      </p:pic>
      <p:pic>
        <p:nvPicPr>
          <p:cNvPr id="50" name="Grafik 49">
            <a:extLst>
              <a:ext uri="{FF2B5EF4-FFF2-40B4-BE49-F238E27FC236}">
                <a16:creationId xmlns:a16="http://schemas.microsoft.com/office/drawing/2014/main" id="{CBC72D56-170E-491F-B1CE-776C7002BCFC}"/>
              </a:ext>
            </a:extLst>
          </p:cNvPr>
          <p:cNvPicPr>
            <a:picLocks noChangeAspect="1"/>
          </p:cNvPicPr>
          <p:nvPr/>
        </p:nvPicPr>
        <p:blipFill>
          <a:blip r:embed="rId58"/>
          <a:stretch>
            <a:fillRect/>
          </a:stretch>
        </p:blipFill>
        <p:spPr>
          <a:xfrm>
            <a:off x="1746920" y="3193004"/>
            <a:ext cx="635721" cy="498651"/>
          </a:xfrm>
          <a:prstGeom prst="rect">
            <a:avLst/>
          </a:prstGeom>
        </p:spPr>
      </p:pic>
      <p:pic>
        <p:nvPicPr>
          <p:cNvPr id="53" name="Grafik 52">
            <a:extLst>
              <a:ext uri="{FF2B5EF4-FFF2-40B4-BE49-F238E27FC236}">
                <a16:creationId xmlns:a16="http://schemas.microsoft.com/office/drawing/2014/main" id="{7A650827-C957-48F7-A9AB-263BB8383C87}"/>
              </a:ext>
            </a:extLst>
          </p:cNvPr>
          <p:cNvPicPr>
            <a:picLocks noChangeAspect="1"/>
          </p:cNvPicPr>
          <p:nvPr/>
        </p:nvPicPr>
        <p:blipFill>
          <a:blip r:embed="rId59"/>
          <a:stretch>
            <a:fillRect/>
          </a:stretch>
        </p:blipFill>
        <p:spPr>
          <a:xfrm>
            <a:off x="8407559" y="3256896"/>
            <a:ext cx="996396" cy="370867"/>
          </a:xfrm>
          <a:prstGeom prst="rect">
            <a:avLst/>
          </a:prstGeom>
        </p:spPr>
      </p:pic>
      <p:pic>
        <p:nvPicPr>
          <p:cNvPr id="56" name="Grafik 55">
            <a:extLst>
              <a:ext uri="{FF2B5EF4-FFF2-40B4-BE49-F238E27FC236}">
                <a16:creationId xmlns:a16="http://schemas.microsoft.com/office/drawing/2014/main" id="{95ACBDA9-FDAC-4AF3-A662-9F35BF722A4B}"/>
              </a:ext>
            </a:extLst>
          </p:cNvPr>
          <p:cNvPicPr>
            <a:picLocks noChangeAspect="1"/>
          </p:cNvPicPr>
          <p:nvPr/>
        </p:nvPicPr>
        <p:blipFill>
          <a:blip r:embed="rId60"/>
          <a:stretch>
            <a:fillRect/>
          </a:stretch>
        </p:blipFill>
        <p:spPr>
          <a:xfrm>
            <a:off x="301993" y="5479856"/>
            <a:ext cx="1209093" cy="361006"/>
          </a:xfrm>
          <a:prstGeom prst="rect">
            <a:avLst/>
          </a:prstGeom>
        </p:spPr>
      </p:pic>
      <p:pic>
        <p:nvPicPr>
          <p:cNvPr id="69" name="Grafik 68">
            <a:extLst>
              <a:ext uri="{FF2B5EF4-FFF2-40B4-BE49-F238E27FC236}">
                <a16:creationId xmlns:a16="http://schemas.microsoft.com/office/drawing/2014/main" id="{3E978858-69F1-4636-939D-6D25B29693D4}"/>
              </a:ext>
            </a:extLst>
          </p:cNvPr>
          <p:cNvPicPr>
            <a:picLocks noChangeAspect="1"/>
          </p:cNvPicPr>
          <p:nvPr/>
        </p:nvPicPr>
        <p:blipFill>
          <a:blip r:embed="rId61"/>
          <a:stretch>
            <a:fillRect/>
          </a:stretch>
        </p:blipFill>
        <p:spPr>
          <a:xfrm>
            <a:off x="2373274" y="5376779"/>
            <a:ext cx="1429967" cy="567160"/>
          </a:xfrm>
          <a:prstGeom prst="rect">
            <a:avLst/>
          </a:prstGeom>
        </p:spPr>
      </p:pic>
      <p:pic>
        <p:nvPicPr>
          <p:cNvPr id="72" name="Grafik 71" descr="Ein Bild, das Text, Monitor enthält.&#10;&#10;Automatisch generierte Beschreibung">
            <a:extLst>
              <a:ext uri="{FF2B5EF4-FFF2-40B4-BE49-F238E27FC236}">
                <a16:creationId xmlns:a16="http://schemas.microsoft.com/office/drawing/2014/main" id="{E8AF08B7-76A5-4A14-AE74-7CBE45D8A72E}"/>
              </a:ext>
            </a:extLst>
          </p:cNvPr>
          <p:cNvPicPr>
            <a:picLocks noChangeAspect="1"/>
          </p:cNvPicPr>
          <p:nvPr/>
        </p:nvPicPr>
        <p:blipFill>
          <a:blip r:embed="rId62"/>
          <a:stretch>
            <a:fillRect/>
          </a:stretch>
        </p:blipFill>
        <p:spPr>
          <a:xfrm>
            <a:off x="360846" y="4871970"/>
            <a:ext cx="1203884" cy="179526"/>
          </a:xfrm>
          <a:prstGeom prst="rect">
            <a:avLst/>
          </a:prstGeom>
        </p:spPr>
      </p:pic>
      <p:pic>
        <p:nvPicPr>
          <p:cNvPr id="74" name="Grafik 73">
            <a:extLst>
              <a:ext uri="{FF2B5EF4-FFF2-40B4-BE49-F238E27FC236}">
                <a16:creationId xmlns:a16="http://schemas.microsoft.com/office/drawing/2014/main" id="{520FA819-B519-4FA5-BCD4-6513C874827D}"/>
              </a:ext>
            </a:extLst>
          </p:cNvPr>
          <p:cNvPicPr>
            <a:picLocks noChangeAspect="1"/>
          </p:cNvPicPr>
          <p:nvPr/>
        </p:nvPicPr>
        <p:blipFill>
          <a:blip r:embed="rId63"/>
          <a:stretch>
            <a:fillRect/>
          </a:stretch>
        </p:blipFill>
        <p:spPr>
          <a:xfrm>
            <a:off x="2974520" y="4714824"/>
            <a:ext cx="1579001" cy="493819"/>
          </a:xfrm>
          <a:prstGeom prst="rect">
            <a:avLst/>
          </a:prstGeom>
        </p:spPr>
      </p:pic>
      <p:pic>
        <p:nvPicPr>
          <p:cNvPr id="76" name="Grafik 75" descr="Ein Bild, das Text, Uhr enthält.&#10;&#10;Automatisch generierte Beschreibung">
            <a:extLst>
              <a:ext uri="{FF2B5EF4-FFF2-40B4-BE49-F238E27FC236}">
                <a16:creationId xmlns:a16="http://schemas.microsoft.com/office/drawing/2014/main" id="{C3CD0966-26A5-4BBC-A018-372DF364DD64}"/>
              </a:ext>
            </a:extLst>
          </p:cNvPr>
          <p:cNvPicPr>
            <a:picLocks noChangeAspect="1"/>
          </p:cNvPicPr>
          <p:nvPr/>
        </p:nvPicPr>
        <p:blipFill>
          <a:blip r:embed="rId64"/>
          <a:stretch>
            <a:fillRect/>
          </a:stretch>
        </p:blipFill>
        <p:spPr>
          <a:xfrm>
            <a:off x="5154647" y="4785402"/>
            <a:ext cx="1906285" cy="352663"/>
          </a:xfrm>
          <a:prstGeom prst="rect">
            <a:avLst/>
          </a:prstGeom>
        </p:spPr>
      </p:pic>
      <p:pic>
        <p:nvPicPr>
          <p:cNvPr id="78" name="Grafik 77">
            <a:extLst>
              <a:ext uri="{FF2B5EF4-FFF2-40B4-BE49-F238E27FC236}">
                <a16:creationId xmlns:a16="http://schemas.microsoft.com/office/drawing/2014/main" id="{8807F4A3-4B71-4EE8-A3B0-0D10CC34DAB4}"/>
              </a:ext>
            </a:extLst>
          </p:cNvPr>
          <p:cNvPicPr>
            <a:picLocks noChangeAspect="1"/>
          </p:cNvPicPr>
          <p:nvPr/>
        </p:nvPicPr>
        <p:blipFill>
          <a:blip r:embed="rId65"/>
          <a:stretch>
            <a:fillRect/>
          </a:stretch>
        </p:blipFill>
        <p:spPr>
          <a:xfrm>
            <a:off x="7205748" y="4770276"/>
            <a:ext cx="993250" cy="382915"/>
          </a:xfrm>
          <a:prstGeom prst="rect">
            <a:avLst/>
          </a:prstGeom>
        </p:spPr>
      </p:pic>
      <p:pic>
        <p:nvPicPr>
          <p:cNvPr id="80" name="Grafik 79">
            <a:extLst>
              <a:ext uri="{FF2B5EF4-FFF2-40B4-BE49-F238E27FC236}">
                <a16:creationId xmlns:a16="http://schemas.microsoft.com/office/drawing/2014/main" id="{C8DCD81E-7324-425D-9D43-E0C382BAE740}"/>
              </a:ext>
            </a:extLst>
          </p:cNvPr>
          <p:cNvPicPr>
            <a:picLocks noChangeAspect="1"/>
          </p:cNvPicPr>
          <p:nvPr/>
        </p:nvPicPr>
        <p:blipFill>
          <a:blip r:embed="rId66"/>
          <a:stretch>
            <a:fillRect/>
          </a:stretch>
        </p:blipFill>
        <p:spPr>
          <a:xfrm>
            <a:off x="10672130" y="4463325"/>
            <a:ext cx="849945" cy="996816"/>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2625870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C616D4FA-A5C6-4298-8A30-C73DC337C78A}"/>
              </a:ext>
            </a:extLst>
          </p:cNvPr>
          <p:cNvSpPr/>
          <p:nvPr/>
        </p:nvSpPr>
        <p:spPr>
          <a:xfrm>
            <a:off x="8357062" y="4878770"/>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b="1" dirty="0">
                <a:solidFill>
                  <a:srgbClr val="FFFFFF"/>
                </a:solidFill>
                <a:latin typeface="FlexoSoft DemiBold" panose="02000000000000000000" pitchFamily="2" charset="0"/>
                <a:cs typeface="Arial" panose="020B0604020202020204" pitchFamily="34" charset="0"/>
              </a:rPr>
              <a:t>SIM Swap</a:t>
            </a:r>
          </a:p>
        </p:txBody>
      </p:sp>
      <p:sp>
        <p:nvSpPr>
          <p:cNvPr id="3" name="TextBox 2">
            <a:extLst>
              <a:ext uri="{FF2B5EF4-FFF2-40B4-BE49-F238E27FC236}">
                <a16:creationId xmlns:a16="http://schemas.microsoft.com/office/drawing/2014/main" id="{9F1170BD-6332-4D01-876A-B807C25C2B11}"/>
              </a:ext>
            </a:extLst>
          </p:cNvPr>
          <p:cNvSpPr txBox="1"/>
          <p:nvPr/>
        </p:nvSpPr>
        <p:spPr>
          <a:xfrm>
            <a:off x="8357062" y="5515657"/>
            <a:ext cx="1784845" cy="646331"/>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Allows users to get information on SIM pairing changes</a:t>
            </a:r>
          </a:p>
        </p:txBody>
      </p:sp>
      <p:sp>
        <p:nvSpPr>
          <p:cNvPr id="9" name="TextBox 8">
            <a:extLst>
              <a:ext uri="{FF2B5EF4-FFF2-40B4-BE49-F238E27FC236}">
                <a16:creationId xmlns:a16="http://schemas.microsoft.com/office/drawing/2014/main" id="{8FD7FA1B-2E8A-4E3F-BF19-AFC77B7D643E}"/>
              </a:ext>
            </a:extLst>
          </p:cNvPr>
          <p:cNvSpPr txBox="1"/>
          <p:nvPr/>
        </p:nvSpPr>
        <p:spPr>
          <a:xfrm>
            <a:off x="5927130" y="5517656"/>
            <a:ext cx="2023776" cy="646331"/>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FlexoSoft Light" panose="02000000000000000000" pitchFamily="2" charset="0"/>
              </a:rPr>
              <a:t>Allows users to set mobile connection quality </a:t>
            </a:r>
          </a:p>
          <a:p>
            <a:r>
              <a:rPr lang="en-US" sz="1200" dirty="0">
                <a:latin typeface="FlexoSoft Light" panose="02000000000000000000" pitchFamily="2" charset="0"/>
              </a:rPr>
              <a:t>and get notifications</a:t>
            </a:r>
          </a:p>
        </p:txBody>
      </p:sp>
      <p:sp>
        <p:nvSpPr>
          <p:cNvPr id="13" name="Rectangle: Rounded Corners 12">
            <a:extLst>
              <a:ext uri="{FF2B5EF4-FFF2-40B4-BE49-F238E27FC236}">
                <a16:creationId xmlns:a16="http://schemas.microsoft.com/office/drawing/2014/main" id="{77FA6B07-9273-4696-821F-A92803805EB3}"/>
              </a:ext>
            </a:extLst>
          </p:cNvPr>
          <p:cNvSpPr/>
          <p:nvPr/>
        </p:nvSpPr>
        <p:spPr>
          <a:xfrm>
            <a:off x="6046596" y="4878770"/>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b="1" dirty="0">
                <a:solidFill>
                  <a:srgbClr val="FFFFFF"/>
                </a:solidFill>
                <a:latin typeface="FlexoSoft DemiBold" panose="02000000000000000000" pitchFamily="2" charset="0"/>
                <a:cs typeface="Arial" panose="020B0604020202020204" pitchFamily="34" charset="0"/>
              </a:rPr>
              <a:t>Quality on Demand</a:t>
            </a:r>
          </a:p>
        </p:txBody>
      </p:sp>
      <p:sp>
        <p:nvSpPr>
          <p:cNvPr id="15" name="Rectangle: Rounded Corners 14">
            <a:extLst>
              <a:ext uri="{FF2B5EF4-FFF2-40B4-BE49-F238E27FC236}">
                <a16:creationId xmlns:a16="http://schemas.microsoft.com/office/drawing/2014/main" id="{000B044D-4265-4137-8AB3-EA38339513E3}"/>
              </a:ext>
            </a:extLst>
          </p:cNvPr>
          <p:cNvSpPr/>
          <p:nvPr/>
        </p:nvSpPr>
        <p:spPr>
          <a:xfrm>
            <a:off x="3697626" y="4878770"/>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b="1" dirty="0">
                <a:solidFill>
                  <a:srgbClr val="FFFFFF"/>
                </a:solidFill>
                <a:latin typeface="FlexoSoft DemiBold" panose="02000000000000000000" pitchFamily="2" charset="0"/>
                <a:cs typeface="Arial" panose="020B0604020202020204" pitchFamily="34" charset="0"/>
              </a:rPr>
              <a:t>OTP Validation</a:t>
            </a:r>
          </a:p>
        </p:txBody>
      </p:sp>
      <p:sp>
        <p:nvSpPr>
          <p:cNvPr id="37" name="TextBox 36">
            <a:extLst>
              <a:ext uri="{FF2B5EF4-FFF2-40B4-BE49-F238E27FC236}">
                <a16:creationId xmlns:a16="http://schemas.microsoft.com/office/drawing/2014/main" id="{DE297ADC-9A74-4B3E-ACA1-DA0EEB68F243}"/>
              </a:ext>
            </a:extLst>
          </p:cNvPr>
          <p:cNvSpPr txBox="1"/>
          <p:nvPr/>
        </p:nvSpPr>
        <p:spPr>
          <a:xfrm>
            <a:off x="3651871" y="5497613"/>
            <a:ext cx="1869104" cy="646331"/>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 To offer secure user authentication to service providers.</a:t>
            </a:r>
          </a:p>
        </p:txBody>
      </p:sp>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dirty="0">
                <a:solidFill>
                  <a:srgbClr val="FFFFFF"/>
                </a:solidFill>
              </a:rPr>
              <a:t>Current Network API</a:t>
            </a:r>
            <a:br>
              <a:rPr lang="en-US" sz="3200" dirty="0">
                <a:solidFill>
                  <a:srgbClr val="FFFFFF"/>
                </a:solidFill>
              </a:rPr>
            </a:br>
            <a:r>
              <a:rPr lang="en-US" sz="3200" dirty="0">
                <a:solidFill>
                  <a:srgbClr val="FFFFFF"/>
                </a:solidFill>
              </a:rPr>
              <a:t>Families</a:t>
            </a:r>
          </a:p>
        </p:txBody>
      </p:sp>
      <p:sp>
        <p:nvSpPr>
          <p:cNvPr id="11" name="Rectangle: Rounded Corners 10">
            <a:extLst>
              <a:ext uri="{FF2B5EF4-FFF2-40B4-BE49-F238E27FC236}">
                <a16:creationId xmlns:a16="http://schemas.microsoft.com/office/drawing/2014/main" id="{FBE600F5-FD46-40AC-9C0B-3CAC1D2FD1C8}"/>
              </a:ext>
            </a:extLst>
          </p:cNvPr>
          <p:cNvSpPr/>
          <p:nvPr/>
        </p:nvSpPr>
        <p:spPr>
          <a:xfrm>
            <a:off x="8363384" y="3225738"/>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Identity and Consent </a:t>
            </a:r>
            <a:r>
              <a:rPr lang="en-US" dirty="0" err="1">
                <a:solidFill>
                  <a:srgbClr val="FFFFFF"/>
                </a:solidFill>
                <a:latin typeface="FlexoSoft DemiBold" panose="02000000000000000000" pitchFamily="2" charset="0"/>
                <a:cs typeface="Arial" panose="020B0604020202020204" pitchFamily="34" charset="0"/>
              </a:rPr>
              <a:t>Mgmt</a:t>
            </a:r>
            <a:endParaRPr lang="en-US" dirty="0">
              <a:solidFill>
                <a:srgbClr val="FFFFFF"/>
              </a:solidFill>
              <a:latin typeface="FlexoSoft DemiBold" panose="02000000000000000000" pitchFamily="2" charset="0"/>
              <a:cs typeface="Arial" panose="020B0604020202020204" pitchFamily="34" charset="0"/>
            </a:endParaRPr>
          </a:p>
        </p:txBody>
      </p:sp>
      <p:sp>
        <p:nvSpPr>
          <p:cNvPr id="12" name="TextBox 11">
            <a:extLst>
              <a:ext uri="{FF2B5EF4-FFF2-40B4-BE49-F238E27FC236}">
                <a16:creationId xmlns:a16="http://schemas.microsoft.com/office/drawing/2014/main" id="{A2DECA8A-69E0-4CD8-A6FA-C1F63D8B60B6}"/>
              </a:ext>
            </a:extLst>
          </p:cNvPr>
          <p:cNvSpPr txBox="1"/>
          <p:nvPr/>
        </p:nvSpPr>
        <p:spPr>
          <a:xfrm>
            <a:off x="8363384" y="3856473"/>
            <a:ext cx="1784845" cy="646331"/>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Provides solutions to capture, store and manage user consent</a:t>
            </a:r>
          </a:p>
        </p:txBody>
      </p:sp>
      <p:sp>
        <p:nvSpPr>
          <p:cNvPr id="14" name="Rectangle: Rounded Corners 13">
            <a:extLst>
              <a:ext uri="{FF2B5EF4-FFF2-40B4-BE49-F238E27FC236}">
                <a16:creationId xmlns:a16="http://schemas.microsoft.com/office/drawing/2014/main" id="{4DC8DC12-9786-44C9-B8CB-F6D3F43B16BA}"/>
              </a:ext>
            </a:extLst>
          </p:cNvPr>
          <p:cNvSpPr/>
          <p:nvPr/>
        </p:nvSpPr>
        <p:spPr>
          <a:xfrm>
            <a:off x="3724259" y="3225738"/>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Edge Cloud</a:t>
            </a:r>
          </a:p>
        </p:txBody>
      </p:sp>
      <p:sp>
        <p:nvSpPr>
          <p:cNvPr id="16" name="Rectangle: Rounded Corners 15">
            <a:extLst>
              <a:ext uri="{FF2B5EF4-FFF2-40B4-BE49-F238E27FC236}">
                <a16:creationId xmlns:a16="http://schemas.microsoft.com/office/drawing/2014/main" id="{43812F9E-D85E-4771-B437-D0C5FE9C0B2E}"/>
              </a:ext>
            </a:extLst>
          </p:cNvPr>
          <p:cNvSpPr/>
          <p:nvPr/>
        </p:nvSpPr>
        <p:spPr>
          <a:xfrm>
            <a:off x="8363384" y="1746815"/>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Device </a:t>
            </a:r>
          </a:p>
          <a:p>
            <a:pPr algn="ctr"/>
            <a:r>
              <a:rPr lang="en-US" dirty="0">
                <a:solidFill>
                  <a:srgbClr val="FFFFFF"/>
                </a:solidFill>
                <a:latin typeface="FlexoSoft DemiBold" panose="02000000000000000000" pitchFamily="2" charset="0"/>
                <a:cs typeface="Arial" panose="020B0604020202020204" pitchFamily="34" charset="0"/>
              </a:rPr>
              <a:t>Location</a:t>
            </a:r>
          </a:p>
        </p:txBody>
      </p:sp>
      <p:sp>
        <p:nvSpPr>
          <p:cNvPr id="18" name="Rectangle: Rounded Corners 17">
            <a:extLst>
              <a:ext uri="{FF2B5EF4-FFF2-40B4-BE49-F238E27FC236}">
                <a16:creationId xmlns:a16="http://schemas.microsoft.com/office/drawing/2014/main" id="{247E50C8-6BE6-4A96-8460-390FDB3D098B}"/>
              </a:ext>
            </a:extLst>
          </p:cNvPr>
          <p:cNvSpPr/>
          <p:nvPr/>
        </p:nvSpPr>
        <p:spPr>
          <a:xfrm>
            <a:off x="6043821" y="1746815"/>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Device Identifier</a:t>
            </a:r>
          </a:p>
        </p:txBody>
      </p:sp>
      <p:sp>
        <p:nvSpPr>
          <p:cNvPr id="19" name="Rectangle: Rounded Corners 18">
            <a:extLst>
              <a:ext uri="{FF2B5EF4-FFF2-40B4-BE49-F238E27FC236}">
                <a16:creationId xmlns:a16="http://schemas.microsoft.com/office/drawing/2014/main" id="{3FA46A8D-2644-48EA-A39B-1B0AEE48D31C}"/>
              </a:ext>
            </a:extLst>
          </p:cNvPr>
          <p:cNvSpPr/>
          <p:nvPr/>
        </p:nvSpPr>
        <p:spPr>
          <a:xfrm>
            <a:off x="1404697" y="1746815"/>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err="1">
                <a:solidFill>
                  <a:srgbClr val="FFFFFF"/>
                </a:solidFill>
                <a:latin typeface="FlexoSoft DemiBold" panose="02000000000000000000" pitchFamily="2" charset="0"/>
                <a:cs typeface="Arial" panose="020B0604020202020204" pitchFamily="34" charset="0"/>
              </a:rPr>
              <a:t>Anonymised</a:t>
            </a:r>
            <a:r>
              <a:rPr lang="en-US" dirty="0">
                <a:solidFill>
                  <a:srgbClr val="FFFFFF"/>
                </a:solidFill>
                <a:latin typeface="FlexoSoft DemiBold" panose="02000000000000000000" pitchFamily="2" charset="0"/>
                <a:cs typeface="Arial" panose="020B0604020202020204" pitchFamily="34" charset="0"/>
              </a:rPr>
              <a:t> Subscriber ID</a:t>
            </a:r>
          </a:p>
        </p:txBody>
      </p:sp>
      <p:sp>
        <p:nvSpPr>
          <p:cNvPr id="20" name="Rectangle: Rounded Corners 19">
            <a:extLst>
              <a:ext uri="{FF2B5EF4-FFF2-40B4-BE49-F238E27FC236}">
                <a16:creationId xmlns:a16="http://schemas.microsoft.com/office/drawing/2014/main" id="{78DE9D47-117E-4FCA-94F7-D785495173C8}"/>
              </a:ext>
            </a:extLst>
          </p:cNvPr>
          <p:cNvSpPr/>
          <p:nvPr/>
        </p:nvSpPr>
        <p:spPr>
          <a:xfrm>
            <a:off x="3724259" y="1746815"/>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Carrier Billing</a:t>
            </a:r>
          </a:p>
          <a:p>
            <a:pPr algn="ctr"/>
            <a:r>
              <a:rPr lang="en-US" dirty="0" err="1">
                <a:solidFill>
                  <a:srgbClr val="FFFFFF"/>
                </a:solidFill>
                <a:latin typeface="FlexoSoft DemiBold" panose="02000000000000000000" pitchFamily="2" charset="0"/>
                <a:cs typeface="Arial" panose="020B0604020202020204" pitchFamily="34" charset="0"/>
              </a:rPr>
              <a:t>CheckOut</a:t>
            </a:r>
            <a:endParaRPr lang="en-US" dirty="0">
              <a:solidFill>
                <a:srgbClr val="FFFFFF"/>
              </a:solidFill>
              <a:latin typeface="FlexoSoft DemiBold" panose="02000000000000000000" pitchFamily="2" charset="0"/>
              <a:cs typeface="Arial" panose="020B0604020202020204" pitchFamily="34" charset="0"/>
            </a:endParaRPr>
          </a:p>
        </p:txBody>
      </p:sp>
      <p:sp>
        <p:nvSpPr>
          <p:cNvPr id="21" name="Rectangle: Rounded Corners 20">
            <a:extLst>
              <a:ext uri="{FF2B5EF4-FFF2-40B4-BE49-F238E27FC236}">
                <a16:creationId xmlns:a16="http://schemas.microsoft.com/office/drawing/2014/main" id="{667BA8AB-3EEA-4D26-A34A-79110CE94846}"/>
              </a:ext>
            </a:extLst>
          </p:cNvPr>
          <p:cNvSpPr/>
          <p:nvPr/>
        </p:nvSpPr>
        <p:spPr>
          <a:xfrm>
            <a:off x="1404697" y="3225738"/>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Device Status</a:t>
            </a:r>
          </a:p>
        </p:txBody>
      </p:sp>
      <p:sp>
        <p:nvSpPr>
          <p:cNvPr id="22" name="Rectangle: Rounded Corners 21">
            <a:extLst>
              <a:ext uri="{FF2B5EF4-FFF2-40B4-BE49-F238E27FC236}">
                <a16:creationId xmlns:a16="http://schemas.microsoft.com/office/drawing/2014/main" id="{B42842BA-AE81-4786-89FF-914F39C0CC01}"/>
              </a:ext>
            </a:extLst>
          </p:cNvPr>
          <p:cNvSpPr/>
          <p:nvPr/>
        </p:nvSpPr>
        <p:spPr>
          <a:xfrm>
            <a:off x="6043821" y="3225738"/>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Home Devices </a:t>
            </a:r>
            <a:r>
              <a:rPr lang="en-US" dirty="0" err="1">
                <a:solidFill>
                  <a:srgbClr val="FFFFFF"/>
                </a:solidFill>
                <a:latin typeface="FlexoSoft DemiBold" panose="02000000000000000000" pitchFamily="2" charset="0"/>
                <a:cs typeface="Arial" panose="020B0604020202020204" pitchFamily="34" charset="0"/>
              </a:rPr>
              <a:t>QoD</a:t>
            </a:r>
            <a:endParaRPr lang="en-US" dirty="0">
              <a:solidFill>
                <a:srgbClr val="FFFFFF"/>
              </a:solidFill>
              <a:latin typeface="FlexoSoft DemiBold" panose="02000000000000000000" pitchFamily="2" charset="0"/>
              <a:cs typeface="Arial" panose="020B0604020202020204" pitchFamily="34" charset="0"/>
            </a:endParaRPr>
          </a:p>
        </p:txBody>
      </p:sp>
      <p:sp>
        <p:nvSpPr>
          <p:cNvPr id="29" name="TextBox 28">
            <a:extLst>
              <a:ext uri="{FF2B5EF4-FFF2-40B4-BE49-F238E27FC236}">
                <a16:creationId xmlns:a16="http://schemas.microsoft.com/office/drawing/2014/main" id="{2881367D-878F-4051-9C50-D93C37605055}"/>
              </a:ext>
            </a:extLst>
          </p:cNvPr>
          <p:cNvSpPr txBox="1"/>
          <p:nvPr/>
        </p:nvSpPr>
        <p:spPr>
          <a:xfrm>
            <a:off x="1209423" y="2341583"/>
            <a:ext cx="2101116" cy="646331"/>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Identify a client device trying to access network services</a:t>
            </a:r>
          </a:p>
        </p:txBody>
      </p:sp>
      <p:sp>
        <p:nvSpPr>
          <p:cNvPr id="30" name="TextBox 29">
            <a:extLst>
              <a:ext uri="{FF2B5EF4-FFF2-40B4-BE49-F238E27FC236}">
                <a16:creationId xmlns:a16="http://schemas.microsoft.com/office/drawing/2014/main" id="{CAB729A5-5B10-4447-A3C9-8492C86839E3}"/>
              </a:ext>
            </a:extLst>
          </p:cNvPr>
          <p:cNvSpPr txBox="1"/>
          <p:nvPr/>
        </p:nvSpPr>
        <p:spPr>
          <a:xfrm>
            <a:off x="3651871" y="2377139"/>
            <a:ext cx="1968560" cy="646331"/>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Purchase, pay, and follow up on fulfilment of products </a:t>
            </a:r>
          </a:p>
        </p:txBody>
      </p:sp>
      <p:sp>
        <p:nvSpPr>
          <p:cNvPr id="31" name="TextBox 30">
            <a:extLst>
              <a:ext uri="{FF2B5EF4-FFF2-40B4-BE49-F238E27FC236}">
                <a16:creationId xmlns:a16="http://schemas.microsoft.com/office/drawing/2014/main" id="{023EA5FE-49FD-4041-88FF-451C72F63BA2}"/>
              </a:ext>
            </a:extLst>
          </p:cNvPr>
          <p:cNvSpPr txBox="1"/>
          <p:nvPr/>
        </p:nvSpPr>
        <p:spPr>
          <a:xfrm>
            <a:off x="5961763" y="2377139"/>
            <a:ext cx="1999338" cy="461665"/>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Check the identity of the subscribers’ device</a:t>
            </a:r>
          </a:p>
        </p:txBody>
      </p:sp>
      <p:sp>
        <p:nvSpPr>
          <p:cNvPr id="32" name="TextBox 31">
            <a:extLst>
              <a:ext uri="{FF2B5EF4-FFF2-40B4-BE49-F238E27FC236}">
                <a16:creationId xmlns:a16="http://schemas.microsoft.com/office/drawing/2014/main" id="{DA8C5BB8-01E0-4223-A9FF-BE34FB837BFF}"/>
              </a:ext>
            </a:extLst>
          </p:cNvPr>
          <p:cNvSpPr txBox="1"/>
          <p:nvPr/>
        </p:nvSpPr>
        <p:spPr>
          <a:xfrm>
            <a:off x="8456881" y="2371399"/>
            <a:ext cx="1497552" cy="461665"/>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Check the location of a device.</a:t>
            </a:r>
          </a:p>
        </p:txBody>
      </p:sp>
      <p:sp>
        <p:nvSpPr>
          <p:cNvPr id="33" name="TextBox 32">
            <a:extLst>
              <a:ext uri="{FF2B5EF4-FFF2-40B4-BE49-F238E27FC236}">
                <a16:creationId xmlns:a16="http://schemas.microsoft.com/office/drawing/2014/main" id="{E602CE52-65AE-4B2D-AAE4-2B6D13D43203}"/>
              </a:ext>
            </a:extLst>
          </p:cNvPr>
          <p:cNvSpPr txBox="1"/>
          <p:nvPr/>
        </p:nvSpPr>
        <p:spPr>
          <a:xfrm>
            <a:off x="1404696" y="3862213"/>
            <a:ext cx="1784845" cy="830997"/>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Check the network  connection and roaming status of a device</a:t>
            </a:r>
          </a:p>
        </p:txBody>
      </p:sp>
      <p:sp>
        <p:nvSpPr>
          <p:cNvPr id="34" name="TextBox 33">
            <a:extLst>
              <a:ext uri="{FF2B5EF4-FFF2-40B4-BE49-F238E27FC236}">
                <a16:creationId xmlns:a16="http://schemas.microsoft.com/office/drawing/2014/main" id="{F4E46BE0-2867-471D-9DB2-51971104E1DE}"/>
              </a:ext>
            </a:extLst>
          </p:cNvPr>
          <p:cNvSpPr txBox="1"/>
          <p:nvPr/>
        </p:nvSpPr>
        <p:spPr>
          <a:xfrm>
            <a:off x="3651872" y="3856473"/>
            <a:ext cx="2023776" cy="830997"/>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Provide and manage network and compute resources for an application</a:t>
            </a:r>
          </a:p>
        </p:txBody>
      </p:sp>
      <p:sp>
        <p:nvSpPr>
          <p:cNvPr id="36" name="TextBox 35">
            <a:extLst>
              <a:ext uri="{FF2B5EF4-FFF2-40B4-BE49-F238E27FC236}">
                <a16:creationId xmlns:a16="http://schemas.microsoft.com/office/drawing/2014/main" id="{B59901A2-B050-414A-A683-A688E8D0AE7B}"/>
              </a:ext>
            </a:extLst>
          </p:cNvPr>
          <p:cNvSpPr txBox="1"/>
          <p:nvPr/>
        </p:nvSpPr>
        <p:spPr>
          <a:xfrm>
            <a:off x="6031542" y="3845094"/>
            <a:ext cx="1869104" cy="830997"/>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Request prioritization of traffic on a specific device on the home network. </a:t>
            </a:r>
          </a:p>
        </p:txBody>
      </p:sp>
      <p:sp>
        <p:nvSpPr>
          <p:cNvPr id="28" name="Rectangle: Rounded Corners 10">
            <a:extLst>
              <a:ext uri="{FF2B5EF4-FFF2-40B4-BE49-F238E27FC236}">
                <a16:creationId xmlns:a16="http://schemas.microsoft.com/office/drawing/2014/main" id="{67D2D39B-EE77-4AE8-85BD-106431601049}"/>
              </a:ext>
            </a:extLst>
          </p:cNvPr>
          <p:cNvSpPr/>
          <p:nvPr/>
        </p:nvSpPr>
        <p:spPr>
          <a:xfrm>
            <a:off x="1387160" y="4878770"/>
            <a:ext cx="1784845" cy="630324"/>
          </a:xfrm>
          <a:prstGeom prst="roundRect">
            <a:avLst/>
          </a:prstGeom>
          <a:solidFill>
            <a:srgbClr val="12276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rgbClr val="FFFFFF"/>
                </a:solidFill>
                <a:latin typeface="FlexoSoft DemiBold" panose="02000000000000000000" pitchFamily="2" charset="0"/>
                <a:cs typeface="Arial" panose="020B0604020202020204" pitchFamily="34" charset="0"/>
              </a:rPr>
              <a:t>Number Verification</a:t>
            </a:r>
          </a:p>
        </p:txBody>
      </p:sp>
      <p:sp>
        <p:nvSpPr>
          <p:cNvPr id="35" name="TextBox 11">
            <a:extLst>
              <a:ext uri="{FF2B5EF4-FFF2-40B4-BE49-F238E27FC236}">
                <a16:creationId xmlns:a16="http://schemas.microsoft.com/office/drawing/2014/main" id="{AD7E2036-5DC4-449F-AE19-FC16A7FF6D7E}"/>
              </a:ext>
            </a:extLst>
          </p:cNvPr>
          <p:cNvSpPr txBox="1"/>
          <p:nvPr/>
        </p:nvSpPr>
        <p:spPr>
          <a:xfrm>
            <a:off x="1387160" y="5509505"/>
            <a:ext cx="1784845" cy="830997"/>
          </a:xfrm>
          <a:prstGeom prst="rect">
            <a:avLst/>
          </a:prstGeom>
          <a:noFill/>
        </p:spPr>
        <p:txBody>
          <a:bodyPr wrap="square" rtlCol="0">
            <a:spAutoFit/>
          </a:bodyPr>
          <a:lstStyle/>
          <a:p>
            <a:pPr algn="ctr"/>
            <a:r>
              <a:rPr lang="en-US" sz="1200" dirty="0">
                <a:latin typeface="FlexoSoft Light" panose="02000000000000000000" pitchFamily="2" charset="0"/>
                <a:cs typeface="Arial" panose="020B0604020202020204" pitchFamily="34" charset="0"/>
              </a:rPr>
              <a:t>Allows users to </a:t>
            </a:r>
          </a:p>
          <a:p>
            <a:pPr algn="ctr"/>
            <a:r>
              <a:rPr lang="en-US" sz="1200" dirty="0">
                <a:latin typeface="FlexoSoft Light" panose="02000000000000000000" pitchFamily="2" charset="0"/>
                <a:cs typeface="Arial" panose="020B0604020202020204" pitchFamily="34" charset="0"/>
              </a:rPr>
              <a:t>verify the phone number of the connected device</a:t>
            </a:r>
          </a:p>
        </p:txBody>
      </p:sp>
    </p:spTree>
    <p:extLst>
      <p:ext uri="{BB962C8B-B14F-4D97-AF65-F5344CB8AC3E}">
        <p14:creationId xmlns:p14="http://schemas.microsoft.com/office/powerpoint/2010/main" val="1724129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572474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6">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dirty="0">
                <a:solidFill>
                  <a:srgbClr val="FFFFFF"/>
                </a:solidFill>
              </a:rPr>
              <a:t>CAMARA</a:t>
            </a:r>
            <a:br>
              <a:rPr lang="en-US" sz="3200" dirty="0">
                <a:solidFill>
                  <a:srgbClr val="FFFFFF"/>
                </a:solidFill>
              </a:rPr>
            </a:br>
            <a:r>
              <a:rPr lang="en-US" sz="3200" dirty="0">
                <a:solidFill>
                  <a:srgbClr val="FFFFFF"/>
                </a:solidFill>
              </a:rPr>
              <a:t>Contacts</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822370" y="2049957"/>
            <a:ext cx="6407840" cy="3724096"/>
          </a:xfrm>
          <a:prstGeom prst="rect">
            <a:avLst/>
          </a:prstGeom>
          <a:noFill/>
        </p:spPr>
        <p:txBody>
          <a:bodyPr wrap="square" rtlCol="0">
            <a:spAutoFit/>
          </a:bodyPr>
          <a:lstStyle/>
          <a:p>
            <a:pPr>
              <a:spcBef>
                <a:spcPts val="600"/>
              </a:spcBef>
            </a:pPr>
            <a:r>
              <a:rPr lang="en-US" sz="1800" dirty="0">
                <a:latin typeface="FlexoSoft Light" panose="02000000000000000000" pitchFamily="2" charset="0"/>
              </a:rPr>
              <a:t>Customers (enterprises and startups), aggregators, cloud operators, telco operators, and network equipment vendors are welcome to join CAMARA.  Participation is free, without any fees or obligation to work.</a:t>
            </a:r>
          </a:p>
          <a:p>
            <a:pPr>
              <a:spcBef>
                <a:spcPts val="600"/>
              </a:spcBef>
            </a:pPr>
            <a:endParaRPr lang="en-US" sz="1800" dirty="0">
              <a:latin typeface="FlexoSoft Light" panose="02000000000000000000" pitchFamily="2" charset="0"/>
            </a:endParaRPr>
          </a:p>
          <a:p>
            <a:pPr>
              <a:spcBef>
                <a:spcPts val="600"/>
              </a:spcBef>
            </a:pPr>
            <a:r>
              <a:rPr lang="en-US" sz="1800" dirty="0">
                <a:latin typeface="FlexoSoft Light" panose="02000000000000000000" pitchFamily="2" charset="0"/>
              </a:rPr>
              <a:t>If you are interested in joining CAMARA, please subscribe to </a:t>
            </a:r>
            <a:r>
              <a:rPr lang="en-US" sz="1800" dirty="0">
                <a:latin typeface="FlexoSoft Light" panose="02000000000000000000" pitchFamily="2" charset="0"/>
                <a:hlinkClick r:id="rId7"/>
              </a:rPr>
              <a:t>all+subscribe@lists.camaraproject.org</a:t>
            </a:r>
            <a:r>
              <a:rPr lang="en-US" sz="1800" dirty="0">
                <a:latin typeface="FlexoSoft Light" panose="02000000000000000000" pitchFamily="2" charset="0"/>
              </a:rPr>
              <a:t>.  You may unsubscribe from CAMARA and these communications at any time.</a:t>
            </a:r>
          </a:p>
          <a:p>
            <a:pPr>
              <a:spcBef>
                <a:spcPts val="600"/>
              </a:spcBef>
            </a:pPr>
            <a:endParaRPr lang="en-US" dirty="0">
              <a:latin typeface="FlexoSoft Light" panose="02000000000000000000" pitchFamily="2" charset="0"/>
            </a:endParaRPr>
          </a:p>
          <a:p>
            <a:pPr>
              <a:spcBef>
                <a:spcPts val="600"/>
              </a:spcBef>
            </a:pPr>
            <a:r>
              <a:rPr lang="en-US" sz="1800" dirty="0">
                <a:latin typeface="FlexoSoft Light" panose="02000000000000000000" pitchFamily="2" charset="0"/>
              </a:rPr>
              <a:t>In case of further questions please don’t hesitate to use our contact page at </a:t>
            </a:r>
            <a:r>
              <a:rPr lang="en-US" sz="1800" dirty="0">
                <a:latin typeface="FlexoSoft Light" panose="02000000000000000000" pitchFamily="2" charset="0"/>
                <a:hlinkClick r:id="rId8"/>
              </a:rPr>
              <a:t>https://camaraproject.org/contact/</a:t>
            </a:r>
            <a:r>
              <a:rPr lang="en-US" sz="1800" dirty="0">
                <a:latin typeface="FlexoSoft Light" panose="02000000000000000000" pitchFamily="2" charset="0"/>
              </a:rPr>
              <a:t>.</a:t>
            </a:r>
          </a:p>
        </p:txBody>
      </p:sp>
      <p:pic>
        <p:nvPicPr>
          <p:cNvPr id="6" name="Grafik 5">
            <a:extLst>
              <a:ext uri="{FF2B5EF4-FFF2-40B4-BE49-F238E27FC236}">
                <a16:creationId xmlns:a16="http://schemas.microsoft.com/office/drawing/2014/main" id="{40D65222-A6D5-4071-B6E4-1BC843A5D659}"/>
              </a:ext>
            </a:extLst>
          </p:cNvPr>
          <p:cNvPicPr>
            <a:picLocks noChangeAspect="1"/>
          </p:cNvPicPr>
          <p:nvPr/>
        </p:nvPicPr>
        <p:blipFill>
          <a:blip r:embed="rId9"/>
          <a:stretch>
            <a:fillRect/>
          </a:stretch>
        </p:blipFill>
        <p:spPr>
          <a:xfrm>
            <a:off x="7913687" y="2483255"/>
            <a:ext cx="2857500" cy="2857500"/>
          </a:xfrm>
          <a:prstGeom prst="rect">
            <a:avLst/>
          </a:prstGeom>
          <a:ln w="3175">
            <a:solidFill>
              <a:schemeClr val="tx1"/>
            </a:solidFill>
          </a:ln>
        </p:spPr>
      </p:pic>
    </p:spTree>
    <p:extLst>
      <p:ext uri="{BB962C8B-B14F-4D97-AF65-F5344CB8AC3E}">
        <p14:creationId xmlns:p14="http://schemas.microsoft.com/office/powerpoint/2010/main" val="747552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7072E4F5-C39E-4EB9-AD2F-326DD2A2F508}"/>
              </a:ext>
            </a:extLst>
          </p:cNvPr>
          <p:cNvPicPr>
            <a:picLocks noChangeAspect="1"/>
          </p:cNvPicPr>
          <p:nvPr/>
        </p:nvPicPr>
        <p:blipFill>
          <a:blip r:embed="rId6"/>
          <a:stretch>
            <a:fillRect/>
          </a:stretch>
        </p:blipFill>
        <p:spPr>
          <a:xfrm>
            <a:off x="2745035" y="4117400"/>
            <a:ext cx="6032004" cy="116129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4">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19866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dirty="0">
                <a:solidFill>
                  <a:schemeClr val="bg1"/>
                </a:solidFill>
                <a:latin typeface="FlexoSoft DemiBold" panose="02000000000000000000" pitchFamily="2" charset="0"/>
              </a:rPr>
              <a:t>APIs </a:t>
            </a:r>
            <a:r>
              <a:rPr lang="de-DE" sz="3200" dirty="0" err="1">
                <a:solidFill>
                  <a:schemeClr val="bg1"/>
                </a:solidFill>
                <a:latin typeface="FlexoSoft DemiBold" panose="02000000000000000000" pitchFamily="2" charset="0"/>
              </a:rPr>
              <a:t>enabling</a:t>
            </a:r>
            <a:r>
              <a:rPr lang="de-DE" sz="3200" dirty="0">
                <a:solidFill>
                  <a:schemeClr val="bg1"/>
                </a:solidFill>
                <a:latin typeface="FlexoSoft DemiBold" panose="02000000000000000000" pitchFamily="2" charset="0"/>
              </a:rPr>
              <a:t> </a:t>
            </a:r>
            <a:r>
              <a:rPr lang="de-DE" sz="3200" dirty="0" err="1">
                <a:solidFill>
                  <a:schemeClr val="bg1"/>
                </a:solidFill>
                <a:latin typeface="FlexoSoft DemiBold" panose="02000000000000000000" pitchFamily="2" charset="0"/>
              </a:rPr>
              <a:t>seamless</a:t>
            </a:r>
            <a:r>
              <a:rPr lang="de-DE" sz="3200" dirty="0">
                <a:solidFill>
                  <a:schemeClr val="bg1"/>
                </a:solidFill>
                <a:latin typeface="FlexoSoft DemiBold" panose="02000000000000000000" pitchFamily="2" charset="0"/>
              </a:rPr>
              <a:t> </a:t>
            </a:r>
            <a:r>
              <a:rPr lang="de-DE" sz="3200" dirty="0" err="1">
                <a:solidFill>
                  <a:schemeClr val="bg1"/>
                </a:solidFill>
                <a:latin typeface="FlexoSoft DemiBold" panose="02000000000000000000" pitchFamily="2" charset="0"/>
              </a:rPr>
              <a:t>access</a:t>
            </a:r>
            <a:r>
              <a:rPr lang="de-DE" sz="3200" dirty="0">
                <a:solidFill>
                  <a:schemeClr val="bg1"/>
                </a:solidFill>
                <a:latin typeface="FlexoSoft DemiBold" panose="02000000000000000000" pitchFamily="2" charset="0"/>
              </a:rPr>
              <a:t> </a:t>
            </a:r>
            <a:r>
              <a:rPr lang="de-DE" sz="3200" dirty="0" err="1">
                <a:solidFill>
                  <a:schemeClr val="bg1"/>
                </a:solidFill>
                <a:latin typeface="FlexoSoft DemiBold" panose="02000000000000000000" pitchFamily="2" charset="0"/>
              </a:rPr>
              <a:t>to</a:t>
            </a:r>
            <a:br>
              <a:rPr lang="de-DE" sz="3200" dirty="0">
                <a:solidFill>
                  <a:schemeClr val="bg1"/>
                </a:solidFill>
                <a:latin typeface="FlexoSoft DemiBold" panose="02000000000000000000" pitchFamily="2" charset="0"/>
              </a:rPr>
            </a:br>
            <a:r>
              <a:rPr lang="de-DE" sz="3200" dirty="0">
                <a:solidFill>
                  <a:schemeClr val="bg1"/>
                </a:solidFill>
                <a:latin typeface="FlexoSoft DemiBold" panose="02000000000000000000" pitchFamily="2" charset="0"/>
              </a:rPr>
              <a:t>Telco network </a:t>
            </a:r>
            <a:r>
              <a:rPr lang="de-DE" sz="3200" dirty="0" err="1">
                <a:solidFill>
                  <a:schemeClr val="bg1"/>
                </a:solidFill>
                <a:latin typeface="FlexoSoft DemiBold" panose="02000000000000000000" pitchFamily="2" charset="0"/>
              </a:rPr>
              <a:t>capabilitites</a:t>
            </a:r>
            <a:endParaRPr lang="de-DE" sz="3200" dirty="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dirty="0">
                <a:latin typeface="FlexoSoft DemiBold" panose="020000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dirty="0">
                <a:solidFill>
                  <a:srgbClr val="FFFFFF"/>
                </a:solidFill>
              </a:rPr>
              <a:t>5G network capabilities</a:t>
            </a:r>
            <a:br>
              <a:rPr lang="en-US" sz="3200" dirty="0">
                <a:solidFill>
                  <a:srgbClr val="FFFFFF"/>
                </a:solidFill>
              </a:rPr>
            </a:br>
            <a:r>
              <a:rPr lang="en-US" sz="3200" dirty="0">
                <a:solidFill>
                  <a:srgbClr val="FFFFFF"/>
                </a:solidFill>
              </a:rPr>
              <a:t>Introduction</a:t>
            </a:r>
            <a:endParaRPr lang="de-DE" sz="3200" dirty="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dirty="0">
                <a:latin typeface="FlexoSoft DemiBold" panose="02000000000000000000" pitchFamily="2" charset="0"/>
              </a:rPr>
              <a:t>Telco network capabilities </a:t>
            </a:r>
            <a:r>
              <a:rPr lang="en-US"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dirty="0">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dirty="0">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93807">
            <a:off x="1494021" y="1862372"/>
            <a:ext cx="914400" cy="914400"/>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0">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1896745"/>
            <a:ext cx="3164391" cy="4201150"/>
          </a:xfrm>
          <a:prstGeom prst="rect">
            <a:avLst/>
          </a:prstGeom>
          <a:noFill/>
        </p:spPr>
        <p:txBody>
          <a:bodyPr wrap="square" rtlCol="0">
            <a:spAutoFit/>
          </a:bodyPr>
          <a:lstStyle/>
          <a:p>
            <a:pPr>
              <a:spcBef>
                <a:spcPts val="600"/>
              </a:spcBef>
            </a:pPr>
            <a:r>
              <a:rPr lang="en-US" b="1" dirty="0">
                <a:latin typeface="FlexoSoft DemiBold" panose="02000000000000000000" pitchFamily="2" charset="0"/>
              </a:rPr>
              <a:t>Abstraction</a:t>
            </a:r>
            <a:r>
              <a:rPr lang="en-US" b="1" dirty="0">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dirty="0">
                <a:latin typeface="FlexoSoft Light" panose="02000000000000000000" pitchFamily="2" charset="0"/>
              </a:rPr>
              <a:t>To simplify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satisfy data privacy and regulatory requirement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6"/>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6">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099064">
            <a:off x="1681658" y="2568001"/>
            <a:ext cx="2035664" cy="2035664"/>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8">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5650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6">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dirty="0">
                <a:latin typeface="FlexoSoft DemiBold" panose="02000000000000000000" pitchFamily="2" charset="0"/>
              </a:rPr>
              <a:t>CAMARA</a:t>
            </a:r>
            <a:r>
              <a:rPr lang="de-DE" sz="1800" dirty="0">
                <a:latin typeface="FlexoSoft Light" panose="02000000000000000000" pitchFamily="2" charset="0"/>
              </a:rPr>
              <a:t> </a:t>
            </a:r>
            <a:r>
              <a:rPr lang="de-DE" sz="1800" dirty="0" err="1">
                <a:latin typeface="FlexoSoft Light" panose="02000000000000000000" pitchFamily="2" charset="0"/>
              </a:rPr>
              <a:t>is</a:t>
            </a:r>
            <a:r>
              <a:rPr lang="de-DE" sz="1800" dirty="0">
                <a:latin typeface="FlexoSoft Light" panose="02000000000000000000" pitchFamily="2" charset="0"/>
              </a:rPr>
              <a:t> an open source </a:t>
            </a:r>
            <a:r>
              <a:rPr lang="de-DE" sz="1800" dirty="0" err="1">
                <a:latin typeface="FlexoSoft Light" panose="02000000000000000000" pitchFamily="2" charset="0"/>
              </a:rPr>
              <a:t>project</a:t>
            </a:r>
            <a:r>
              <a:rPr lang="de-DE" sz="1800" dirty="0">
                <a:latin typeface="FlexoSoft Light" panose="02000000000000000000" pitchFamily="2" charset="0"/>
              </a:rPr>
              <a:t> </a:t>
            </a:r>
            <a:r>
              <a:rPr lang="de-DE" sz="1800" dirty="0" err="1">
                <a:latin typeface="FlexoSoft Light" panose="02000000000000000000" pitchFamily="2" charset="0"/>
              </a:rPr>
              <a:t>within</a:t>
            </a:r>
            <a:r>
              <a:rPr lang="de-DE" sz="1800" dirty="0">
                <a:latin typeface="FlexoSoft Light" panose="02000000000000000000" pitchFamily="2" charset="0"/>
              </a:rPr>
              <a:t> Linux </a:t>
            </a:r>
            <a:r>
              <a:rPr lang="de-DE" sz="1800" dirty="0" err="1">
                <a:latin typeface="FlexoSoft Light" panose="02000000000000000000" pitchFamily="2" charset="0"/>
              </a:rPr>
              <a:t>Foundation</a:t>
            </a:r>
            <a:r>
              <a:rPr lang="de-DE" sz="1800" dirty="0">
                <a:latin typeface="FlexoSoft Light" panose="02000000000000000000" pitchFamily="2" charset="0"/>
              </a:rPr>
              <a:t> </a:t>
            </a:r>
            <a:r>
              <a:rPr lang="de-DE" sz="1800" dirty="0" err="1">
                <a:latin typeface="FlexoSoft Light" panose="02000000000000000000" pitchFamily="2" charset="0"/>
              </a:rPr>
              <a:t>to</a:t>
            </a:r>
            <a:r>
              <a:rPr lang="de-DE" sz="1800" dirty="0">
                <a:latin typeface="FlexoSoft Light" panose="02000000000000000000" pitchFamily="2" charset="0"/>
              </a:rPr>
              <a:t> </a:t>
            </a:r>
            <a:r>
              <a:rPr lang="de-DE" sz="1800" dirty="0" err="1">
                <a:latin typeface="FlexoSoft Light" panose="02000000000000000000" pitchFamily="2" charset="0"/>
              </a:rPr>
              <a:t>define</a:t>
            </a:r>
            <a:r>
              <a:rPr lang="de-DE" sz="1800" dirty="0">
                <a:latin typeface="FlexoSoft Light" panose="02000000000000000000" pitchFamily="2" charset="0"/>
              </a:rPr>
              <a:t>, </a:t>
            </a:r>
            <a:r>
              <a:rPr lang="de-DE" sz="1800" dirty="0" err="1">
                <a:latin typeface="FlexoSoft Light" panose="02000000000000000000" pitchFamily="2" charset="0"/>
              </a:rPr>
              <a:t>develop</a:t>
            </a:r>
            <a:r>
              <a:rPr lang="de-DE" sz="1800" dirty="0">
                <a:latin typeface="FlexoSoft Light" panose="02000000000000000000" pitchFamily="2" charset="0"/>
              </a:rPr>
              <a:t> and </a:t>
            </a:r>
            <a:r>
              <a:rPr lang="de-DE" sz="1800" dirty="0" err="1">
                <a:latin typeface="FlexoSoft Light" panose="02000000000000000000" pitchFamily="2" charset="0"/>
              </a:rPr>
              <a:t>test</a:t>
            </a:r>
            <a:r>
              <a:rPr lang="de-DE" sz="1800" dirty="0">
                <a:latin typeface="FlexoSoft Light" panose="02000000000000000000" pitchFamily="2" charset="0"/>
              </a:rPr>
              <a:t> </a:t>
            </a:r>
            <a:r>
              <a:rPr lang="de-DE" sz="1800" dirty="0" err="1">
                <a:latin typeface="FlexoSoft Light" panose="02000000000000000000" pitchFamily="2" charset="0"/>
              </a:rPr>
              <a:t>the</a:t>
            </a:r>
            <a:r>
              <a:rPr lang="de-DE" sz="1800" dirty="0">
                <a:latin typeface="FlexoSoft Light" panose="02000000000000000000" pitchFamily="2" charset="0"/>
              </a:rPr>
              <a:t> APIs. </a:t>
            </a:r>
            <a:r>
              <a:rPr lang="en-US" sz="1800" dirty="0">
                <a:latin typeface="FlexoSoft Light" panose="02000000000000000000" pitchFamily="2" charset="0"/>
              </a:rPr>
              <a:t>CAMARA works in close collaboration with the GSMA Operator Platform Group to align API requirements and publish API </a:t>
            </a:r>
            <a:r>
              <a:rPr lang="en-US" dirty="0">
                <a:latin typeface="FlexoSoft Light" panose="02000000000000000000" pitchFamily="2" charset="0"/>
              </a:rPr>
              <a:t>definitions</a:t>
            </a:r>
            <a:r>
              <a:rPr lang="en-US" sz="1800" dirty="0">
                <a:latin typeface="FlexoSoft Light" panose="02000000000000000000" pitchFamily="2" charset="0"/>
              </a:rPr>
              <a:t> and APIs. Harmonization of APIs is achieved through fast and agile created working code with developer-friendly documentation. API </a:t>
            </a:r>
            <a:r>
              <a:rPr lang="en-US" dirty="0">
                <a:latin typeface="FlexoSoft Light" panose="02000000000000000000" pitchFamily="2" charset="0"/>
              </a:rPr>
              <a:t>definitions</a:t>
            </a:r>
            <a:r>
              <a:rPr lang="en-US" sz="1800" dirty="0">
                <a:latin typeface="FlexoSoft Light" panose="02000000000000000000" pitchFamily="2" charset="0"/>
              </a:rPr>
              <a:t> and reference implementations are free to use (Apache2.0 license).</a:t>
            </a:r>
            <a:endParaRPr lang="de-DE" sz="1800" dirty="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7"/>
          <a:stretch>
            <a:fillRect/>
          </a:stretch>
        </p:blipFill>
        <p:spPr>
          <a:xfrm>
            <a:off x="3407861" y="4466289"/>
            <a:ext cx="2592889" cy="872062"/>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900594">
            <a:off x="1826876" y="2310936"/>
            <a:ext cx="914400" cy="914400"/>
          </a:xfrm>
          <a:prstGeom prst="rect">
            <a:avLst/>
          </a:prstGeom>
        </p:spPr>
      </p:pic>
      <p:pic>
        <p:nvPicPr>
          <p:cNvPr id="12" name="Grafik 11" descr="Ein Bild, das Text, ClipArt enthält.&#10;&#10;Automatisch generierte Beschreibung">
            <a:extLst>
              <a:ext uri="{FF2B5EF4-FFF2-40B4-BE49-F238E27FC236}">
                <a16:creationId xmlns:a16="http://schemas.microsoft.com/office/drawing/2014/main" id="{BC9CFFDD-1923-4081-BAE4-177361E92535}"/>
              </a:ext>
            </a:extLst>
          </p:cNvPr>
          <p:cNvPicPr>
            <a:picLocks noChangeAspect="1"/>
          </p:cNvPicPr>
          <p:nvPr/>
        </p:nvPicPr>
        <p:blipFill>
          <a:blip r:embed="rId10"/>
          <a:stretch>
            <a:fillRect/>
          </a:stretch>
        </p:blipFill>
        <p:spPr>
          <a:xfrm>
            <a:off x="6376726" y="4675578"/>
            <a:ext cx="2901741" cy="453484"/>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dirty="0">
                <a:latin typeface="FlexoSoft Light" panose="02000000000000000000" pitchFamily="2" charset="0"/>
              </a:rPr>
              <a:t>From functional perspective the scope is limited to </a:t>
            </a:r>
            <a:r>
              <a:rPr lang="en-US" dirty="0">
                <a:latin typeface="FlexoSoft DemiBold" panose="02000000000000000000" pitchFamily="2" charset="0"/>
              </a:rPr>
              <a:t>telco APIs</a:t>
            </a:r>
            <a:r>
              <a:rPr lang="en-US" dirty="0">
                <a:latin typeface="FlexoSoft Light" panose="02000000000000000000" pitchFamily="2" charset="0"/>
              </a:rPr>
              <a:t>, that means APIs in the domain of telco mobile networks, telco fixed line networks or supporting these.</a:t>
            </a:r>
          </a:p>
          <a:p>
            <a:endParaRPr lang="en-US" dirty="0">
              <a:latin typeface="FlexoSoft Light" panose="02000000000000000000" pitchFamily="2" charset="0"/>
            </a:endParaRPr>
          </a:p>
          <a:p>
            <a:r>
              <a:rPr lang="de-DE" dirty="0" err="1">
                <a:latin typeface="FlexoSoft Light" panose="02000000000000000000" pitchFamily="2" charset="0"/>
              </a:rPr>
              <a:t>Thereby</a:t>
            </a:r>
            <a:r>
              <a:rPr lang="de-DE" dirty="0">
                <a:latin typeface="FlexoSoft Light" panose="02000000000000000000" pitchFamily="2" charset="0"/>
              </a:rPr>
              <a:t> </a:t>
            </a:r>
            <a:r>
              <a:rPr lang="de-DE" dirty="0" err="1">
                <a:latin typeface="FlexoSoft Light" panose="02000000000000000000" pitchFamily="2" charset="0"/>
              </a:rPr>
              <a:t>the</a:t>
            </a:r>
            <a:r>
              <a:rPr lang="de-DE" dirty="0">
                <a:latin typeface="FlexoSoft Light" panose="02000000000000000000" pitchFamily="2" charset="0"/>
              </a:rPr>
              <a:t> </a:t>
            </a:r>
            <a:r>
              <a:rPr lang="de-DE" dirty="0" err="1">
                <a:latin typeface="FlexoSoft Light" panose="02000000000000000000" pitchFamily="2" charset="0"/>
              </a:rPr>
              <a:t>focus</a:t>
            </a:r>
            <a:r>
              <a:rPr lang="de-DE" dirty="0">
                <a:latin typeface="FlexoSoft Light" panose="02000000000000000000" pitchFamily="2" charset="0"/>
              </a:rPr>
              <a:t> </a:t>
            </a:r>
            <a:r>
              <a:rPr lang="de-DE" dirty="0" err="1">
                <a:latin typeface="FlexoSoft Light" panose="02000000000000000000" pitchFamily="2" charset="0"/>
              </a:rPr>
              <a:t>is</a:t>
            </a:r>
            <a:r>
              <a:rPr lang="de-DE" dirty="0">
                <a:latin typeface="FlexoSoft Light" panose="02000000000000000000" pitchFamily="2" charset="0"/>
              </a:rPr>
              <a:t> on </a:t>
            </a:r>
            <a:r>
              <a:rPr lang="de-DE" dirty="0" err="1">
                <a:latin typeface="FlexoSoft Light" panose="02000000000000000000" pitchFamily="2" charset="0"/>
              </a:rPr>
              <a:t>the</a:t>
            </a:r>
            <a:r>
              <a:rPr lang="de-DE" dirty="0">
                <a:latin typeface="FlexoSoft Light" panose="02000000000000000000" pitchFamily="2" charset="0"/>
              </a:rPr>
              <a:t> </a:t>
            </a:r>
            <a:r>
              <a:rPr lang="de-DE" dirty="0" err="1">
                <a:latin typeface="FlexoSoft DemiBold" panose="02000000000000000000" pitchFamily="2" charset="0"/>
              </a:rPr>
              <a:t>northbound</a:t>
            </a:r>
            <a:r>
              <a:rPr lang="de-DE" dirty="0">
                <a:latin typeface="FlexoSoft DemiBold" panose="02000000000000000000" pitchFamily="2" charset="0"/>
              </a:rPr>
              <a:t> interface </a:t>
            </a:r>
            <a:r>
              <a:rPr lang="de-DE" dirty="0">
                <a:latin typeface="FlexoSoft Light" panose="02000000000000000000" pitchFamily="2" charset="0"/>
              </a:rPr>
              <a:t>(</a:t>
            </a:r>
            <a:r>
              <a:rPr lang="de-DE" dirty="0" err="1">
                <a:latin typeface="FlexoSoft Light" panose="02000000000000000000" pitchFamily="2" charset="0"/>
              </a:rPr>
              <a:t>between</a:t>
            </a:r>
            <a:r>
              <a:rPr lang="de-DE" dirty="0">
                <a:latin typeface="FlexoSoft Light" panose="02000000000000000000" pitchFamily="2" charset="0"/>
              </a:rPr>
              <a:t> </a:t>
            </a:r>
            <a:r>
              <a:rPr lang="de-DE" dirty="0" err="1">
                <a:latin typeface="FlexoSoft Light" panose="02000000000000000000" pitchFamily="2" charset="0"/>
              </a:rPr>
              <a:t>telco</a:t>
            </a:r>
            <a:r>
              <a:rPr lang="de-DE" dirty="0">
                <a:latin typeface="FlexoSoft Light" panose="02000000000000000000" pitchFamily="2" charset="0"/>
              </a:rPr>
              <a:t> </a:t>
            </a:r>
            <a:r>
              <a:rPr lang="de-DE" dirty="0" err="1">
                <a:latin typeface="FlexoSoft Light" panose="02000000000000000000" pitchFamily="2" charset="0"/>
              </a:rPr>
              <a:t>operator</a:t>
            </a:r>
            <a:r>
              <a:rPr lang="de-DE" dirty="0">
                <a:latin typeface="FlexoSoft Light" panose="02000000000000000000" pitchFamily="2" charset="0"/>
              </a:rPr>
              <a:t> and </a:t>
            </a:r>
            <a:r>
              <a:rPr lang="de-DE" dirty="0" err="1">
                <a:latin typeface="FlexoSoft Light" panose="02000000000000000000" pitchFamily="2" charset="0"/>
              </a:rPr>
              <a:t>aggregator</a:t>
            </a:r>
            <a:r>
              <a:rPr lang="de-DE" dirty="0">
                <a:latin typeface="FlexoSoft Light" panose="02000000000000000000" pitchFamily="2" charset="0"/>
              </a:rPr>
              <a:t> </a:t>
            </a:r>
            <a:r>
              <a:rPr lang="de-DE" dirty="0" err="1">
                <a:latin typeface="FlexoSoft Light" panose="02000000000000000000" pitchFamily="2" charset="0"/>
              </a:rPr>
              <a:t>or</a:t>
            </a:r>
            <a:r>
              <a:rPr lang="de-DE" dirty="0">
                <a:latin typeface="FlexoSoft Light" panose="02000000000000000000" pitchFamily="2" charset="0"/>
              </a:rPr>
              <a:t> </a:t>
            </a:r>
            <a:r>
              <a:rPr lang="de-DE" dirty="0" err="1">
                <a:latin typeface="FlexoSoft Light" panose="02000000000000000000" pitchFamily="2" charset="0"/>
              </a:rPr>
              <a:t>capability</a:t>
            </a:r>
            <a:r>
              <a:rPr lang="de-DE" dirty="0">
                <a:latin typeface="FlexoSoft Light" panose="02000000000000000000" pitchFamily="2" charset="0"/>
              </a:rPr>
              <a:t> </a:t>
            </a:r>
            <a:r>
              <a:rPr lang="de-DE" dirty="0" err="1">
                <a:latin typeface="FlexoSoft Light" panose="02000000000000000000" pitchFamily="2" charset="0"/>
              </a:rPr>
              <a:t>consumer</a:t>
            </a:r>
            <a:r>
              <a:rPr lang="de-DE" dirty="0">
                <a:latin typeface="FlexoSoft Light" panose="02000000000000000000" pitchFamily="2" charset="0"/>
              </a:rPr>
              <a:t>).  </a:t>
            </a:r>
            <a:r>
              <a:rPr lang="de-DE" dirty="0" err="1">
                <a:latin typeface="FlexoSoft Light" panose="02000000000000000000" pitchFamily="2" charset="0"/>
              </a:rPr>
              <a:t>To</a:t>
            </a:r>
            <a:r>
              <a:rPr lang="de-DE" dirty="0">
                <a:latin typeface="FlexoSoft Light" panose="02000000000000000000" pitchFamily="2" charset="0"/>
              </a:rPr>
              <a:t> </a:t>
            </a:r>
            <a:r>
              <a:rPr lang="de-DE" dirty="0" err="1">
                <a:latin typeface="FlexoSoft Light" panose="02000000000000000000" pitchFamily="2" charset="0"/>
              </a:rPr>
              <a:t>enable</a:t>
            </a:r>
            <a:r>
              <a:rPr lang="de-DE" dirty="0">
                <a:latin typeface="FlexoSoft Light" panose="02000000000000000000" pitchFamily="2" charset="0"/>
              </a:rPr>
              <a:t> API </a:t>
            </a:r>
            <a:r>
              <a:rPr lang="de-DE" dirty="0" err="1">
                <a:latin typeface="FlexoSoft Light" panose="02000000000000000000" pitchFamily="2" charset="0"/>
              </a:rPr>
              <a:t>roaming</a:t>
            </a:r>
            <a:r>
              <a:rPr lang="de-DE" dirty="0">
                <a:latin typeface="FlexoSoft Light" panose="02000000000000000000" pitchFamily="2" charset="0"/>
              </a:rPr>
              <a:t> also </a:t>
            </a:r>
            <a:r>
              <a:rPr lang="de-DE" dirty="0" err="1">
                <a:latin typeface="FlexoSoft Light" panose="02000000000000000000" pitchFamily="2" charset="0"/>
              </a:rPr>
              <a:t>the</a:t>
            </a:r>
            <a:r>
              <a:rPr lang="de-DE" dirty="0">
                <a:latin typeface="FlexoSoft Light" panose="02000000000000000000" pitchFamily="2" charset="0"/>
              </a:rPr>
              <a:t> </a:t>
            </a:r>
            <a:r>
              <a:rPr lang="de-DE" dirty="0" err="1">
                <a:latin typeface="FlexoSoft DemiBold" panose="02000000000000000000" pitchFamily="2" charset="0"/>
              </a:rPr>
              <a:t>east</a:t>
            </a:r>
            <a:r>
              <a:rPr lang="de-DE" dirty="0">
                <a:latin typeface="FlexoSoft DemiBold" panose="02000000000000000000" pitchFamily="2" charset="0"/>
              </a:rPr>
              <a:t>-/</a:t>
            </a:r>
            <a:r>
              <a:rPr lang="de-DE" dirty="0" err="1">
                <a:latin typeface="FlexoSoft DemiBold" panose="02000000000000000000" pitchFamily="2" charset="0"/>
              </a:rPr>
              <a:t>westbound</a:t>
            </a:r>
            <a:r>
              <a:rPr lang="de-DE" dirty="0">
                <a:latin typeface="FlexoSoft DemiBold" panose="02000000000000000000" pitchFamily="2" charset="0"/>
              </a:rPr>
              <a:t> interface </a:t>
            </a:r>
            <a:r>
              <a:rPr lang="de-DE" dirty="0">
                <a:latin typeface="FlexoSoft Light" panose="02000000000000000000" pitchFamily="2" charset="0"/>
              </a:rPr>
              <a:t>(</a:t>
            </a:r>
            <a:r>
              <a:rPr lang="de-DE" dirty="0" err="1">
                <a:latin typeface="FlexoSoft Light" panose="02000000000000000000" pitchFamily="2" charset="0"/>
              </a:rPr>
              <a:t>telco</a:t>
            </a:r>
            <a:r>
              <a:rPr lang="de-DE" dirty="0">
                <a:latin typeface="FlexoSoft Light" panose="02000000000000000000" pitchFamily="2" charset="0"/>
              </a:rPr>
              <a:t> </a:t>
            </a:r>
            <a:r>
              <a:rPr lang="de-DE" dirty="0" err="1">
                <a:latin typeface="FlexoSoft Light" panose="02000000000000000000" pitchFamily="2" charset="0"/>
              </a:rPr>
              <a:t>operator</a:t>
            </a:r>
            <a:r>
              <a:rPr lang="de-DE" dirty="0">
                <a:latin typeface="FlexoSoft Light" panose="02000000000000000000" pitchFamily="2" charset="0"/>
              </a:rPr>
              <a:t> </a:t>
            </a:r>
            <a:r>
              <a:rPr lang="de-DE" dirty="0" err="1">
                <a:latin typeface="FlexoSoft Light" panose="02000000000000000000" pitchFamily="2" charset="0"/>
              </a:rPr>
              <a:t>to</a:t>
            </a:r>
            <a:r>
              <a:rPr lang="de-DE" dirty="0">
                <a:latin typeface="FlexoSoft Light" panose="02000000000000000000" pitchFamily="2" charset="0"/>
              </a:rPr>
              <a:t> </a:t>
            </a:r>
            <a:r>
              <a:rPr lang="de-DE" dirty="0" err="1">
                <a:latin typeface="FlexoSoft Light" panose="02000000000000000000" pitchFamily="2" charset="0"/>
              </a:rPr>
              <a:t>telco</a:t>
            </a:r>
            <a:r>
              <a:rPr lang="de-DE" dirty="0">
                <a:latin typeface="FlexoSoft Light" panose="02000000000000000000" pitchFamily="2" charset="0"/>
              </a:rPr>
              <a:t> </a:t>
            </a:r>
            <a:r>
              <a:rPr lang="de-DE" dirty="0" err="1">
                <a:latin typeface="FlexoSoft Light" panose="02000000000000000000" pitchFamily="2" charset="0"/>
              </a:rPr>
              <a:t>operator</a:t>
            </a:r>
            <a:r>
              <a:rPr lang="de-DE" dirty="0">
                <a:latin typeface="FlexoSoft Light" panose="02000000000000000000" pitchFamily="2" charset="0"/>
              </a:rPr>
              <a:t>) </a:t>
            </a:r>
            <a:r>
              <a:rPr lang="de-DE" dirty="0" err="1">
                <a:latin typeface="FlexoSoft Light" panose="02000000000000000000" pitchFamily="2" charset="0"/>
              </a:rPr>
              <a:t>is</a:t>
            </a:r>
            <a:r>
              <a:rPr lang="de-DE" dirty="0">
                <a:latin typeface="FlexoSoft Light" panose="02000000000000000000" pitchFamily="2" charset="0"/>
              </a:rPr>
              <a:t> in </a:t>
            </a:r>
            <a:r>
              <a:rPr lang="de-DE" dirty="0" err="1">
                <a:latin typeface="FlexoSoft Light" panose="02000000000000000000" pitchFamily="2" charset="0"/>
              </a:rPr>
              <a:t>scope</a:t>
            </a:r>
            <a:r>
              <a:rPr lang="de-DE" dirty="0">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426150" y="1532805"/>
            <a:ext cx="1538924" cy="369332"/>
          </a:xfrm>
          <a:prstGeom prst="rect">
            <a:avLst/>
          </a:prstGeom>
          <a:noFill/>
        </p:spPr>
        <p:txBody>
          <a:bodyPr wrap="square" rtlCol="0">
            <a:spAutoFit/>
          </a:bodyPr>
          <a:lstStyle/>
          <a:p>
            <a:pPr algn="ctr"/>
            <a:r>
              <a:rPr lang="de-DE" dirty="0" err="1">
                <a:solidFill>
                  <a:srgbClr val="000620"/>
                </a:solidFill>
                <a:latin typeface="FlexoSoft Light" panose="02000000000000000000" pitchFamily="2" charset="0"/>
              </a:rPr>
              <a:t>Application</a:t>
            </a:r>
            <a:endParaRPr lang="de-DE" dirty="0">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dirty="0">
                <a:latin typeface="FlexoSoft Light" panose="02000000000000000000" pitchFamily="2" charset="0"/>
              </a:rPr>
              <a:t>The scope of the CAMARA Project is:</a:t>
            </a:r>
          </a:p>
          <a:p>
            <a:pPr marL="285750" indent="-285750">
              <a:spcBef>
                <a:spcPts val="600"/>
              </a:spcBef>
              <a:buFont typeface="Wingdings" panose="05000000000000000000" pitchFamily="2" charset="2"/>
              <a:buChar char="§"/>
            </a:pPr>
            <a:r>
              <a:rPr lang="en-US" dirty="0">
                <a:latin typeface="FlexoSoft DemiBold" panose="02000000000000000000" pitchFamily="2" charset="0"/>
              </a:rPr>
              <a:t>Collect API requirements </a:t>
            </a:r>
            <a:r>
              <a:rPr lang="en-US" dirty="0">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dirty="0">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dirty="0">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dirty="0">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dirty="0">
                <a:latin typeface="FlexoSoft Light" panose="02000000000000000000" pitchFamily="2" charset="0"/>
              </a:rPr>
              <a:t>Create developer friendly </a:t>
            </a:r>
            <a:r>
              <a:rPr lang="en-US" dirty="0">
                <a:latin typeface="FlexoSoft DemiBold" panose="02000000000000000000" pitchFamily="2" charset="0"/>
              </a:rPr>
              <a:t>documentation</a:t>
            </a:r>
            <a:r>
              <a:rPr lang="en-US" dirty="0">
                <a:latin typeface="FlexoSoft Light" panose="02000000000000000000" pitchFamily="2" charset="0"/>
              </a:rPr>
              <a:t> for Service APIs</a:t>
            </a:r>
          </a:p>
          <a:p>
            <a:pPr>
              <a:spcBef>
                <a:spcPts val="600"/>
              </a:spcBef>
            </a:pPr>
            <a:endParaRPr lang="en-US" dirty="0">
              <a:latin typeface="FlexoSoft Light" panose="02000000000000000000" pitchFamily="2" charset="0"/>
            </a:endParaRPr>
          </a:p>
          <a:p>
            <a:pPr>
              <a:spcBef>
                <a:spcPts val="600"/>
              </a:spcBef>
            </a:pPr>
            <a:r>
              <a:rPr lang="en-US" b="1" dirty="0">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dirty="0">
                <a:latin typeface="FlexoSoft DemiBold" panose="02000000000000000000" pitchFamily="2" charset="0"/>
              </a:rPr>
              <a:t>Service API definitions, code and documentation</a:t>
            </a:r>
            <a:endParaRPr lang="en-US" dirty="0">
              <a:latin typeface="FlexoSoft Light" panose="02000000000000000000" pitchFamily="2" charset="0"/>
            </a:endParaRPr>
          </a:p>
          <a:p>
            <a:pPr marL="285750" indent="-285750">
              <a:spcBef>
                <a:spcPts val="600"/>
              </a:spcBef>
              <a:buFont typeface="Wingdings" panose="05000000000000000000" pitchFamily="2" charset="2"/>
              <a:buChar char="§"/>
            </a:pPr>
            <a:r>
              <a:rPr lang="en-US" dirty="0">
                <a:latin typeface="FlexoSoft Light" panose="02000000000000000000" pitchFamily="2" charset="0"/>
              </a:rPr>
              <a:t>Test plan, cases and tools for Service APIs both contained in deployment packages. </a:t>
            </a:r>
          </a:p>
          <a:p>
            <a:pPr>
              <a:spcBef>
                <a:spcPts val="600"/>
              </a:spcBef>
            </a:pPr>
            <a:endParaRPr lang="en-US" dirty="0">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9"/>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981370">
            <a:off x="185283" y="5507012"/>
            <a:ext cx="557292" cy="557292"/>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18887A1-DA35-45B1-9C30-3C4CD5A75F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28B3AEC-1B9B-4DB5-801E-C1A65C3DCD7E}">
  <ds:schemaRefs>
    <ds:schemaRef ds:uri="http://schemas.microsoft.com/office/2006/documentManagement/types"/>
    <ds:schemaRef ds:uri="http://schemas.microsoft.com/office/2006/metadata/properties"/>
    <ds:schemaRef ds:uri="97396690-0b91-46d2-ad5a-06f45914e19c"/>
    <ds:schemaRef ds:uri="http://purl.org/dc/elements/1.1/"/>
    <ds:schemaRef ds:uri="http://schemas.openxmlformats.org/package/2006/metadata/core-properties"/>
    <ds:schemaRef ds:uri="http://purl.org/dc/dcmitype/"/>
    <ds:schemaRef ds:uri="http://purl.org/dc/terms/"/>
    <ds:schemaRef ds:uri="http://schemas.microsoft.com/office/infopath/2007/PartnerControls"/>
    <ds:schemaRef ds:uri="6126070c-0864-4b03-b2dc-aab5d8c39348"/>
    <ds:schemaRef ds:uri="http://www.w3.org/XML/1998/namespace"/>
  </ds:schemaRefs>
</ds:datastoreItem>
</file>

<file path=customXml/itemProps3.xml><?xml version="1.0" encoding="utf-8"?>
<ds:datastoreItem xmlns:ds="http://schemas.openxmlformats.org/officeDocument/2006/customXml" ds:itemID="{8CBEDB7D-B7A7-43D6-93BF-49B559E2E9BB}">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blank_16_9</Template>
  <TotalTime>0</TotalTime>
  <Words>843</Words>
  <Application>Microsoft Office PowerPoint</Application>
  <PresentationFormat>Benutzerdefiniert</PresentationFormat>
  <Paragraphs>152</Paragraphs>
  <Slides>13</Slides>
  <Notes>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3</vt:i4>
      </vt:variant>
    </vt:vector>
  </HeadingPairs>
  <TitlesOfParts>
    <vt:vector size="23" baseType="lpstr">
      <vt:lpstr>Calibri</vt:lpstr>
      <vt:lpstr>FlexoSoft DemiBold</vt:lpstr>
      <vt:lpstr>FlexoSoft Light</vt:lpstr>
      <vt:lpstr>FlexoSoft Medium</vt:lpstr>
      <vt:lpstr>Wingdings 2</vt:lpstr>
      <vt:lpstr>Wingdings</vt:lpstr>
      <vt:lpstr>Arial</vt:lpstr>
      <vt:lpstr>FlexoSoft</vt:lpstr>
      <vt:lpstr>Detecon_Master</vt:lpstr>
      <vt:lpstr>think-cell Folie</vt:lpstr>
      <vt:lpstr>PowerPoint-Präsentation</vt:lpstr>
      <vt:lpstr>APIs enabling seamless access to Telco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Current Network API Families</vt:lpstr>
      <vt:lpstr>CAMARA Contact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3</cp:revision>
  <cp:lastPrinted>2023-02-19T09:21:46Z</cp:lastPrinted>
  <dcterms:created xsi:type="dcterms:W3CDTF">2021-01-08T13:06:59Z</dcterms:created>
  <dcterms:modified xsi:type="dcterms:W3CDTF">2023-02-19T09:3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y fmtid="{D5CDD505-2E9C-101B-9397-08002B2CF9AE}" pid="6" name="MediaServiceImageTags">
    <vt:lpwstr/>
  </property>
</Properties>
</file>